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20.xml" ContentType="application/vnd.openxmlformats-officedocument.presentationml.tags+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8.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9.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3"/>
  </p:notesMasterIdLst>
  <p:handoutMasterIdLst>
    <p:handoutMasterId r:id="rId14"/>
  </p:handoutMasterIdLst>
  <p:sldIdLst>
    <p:sldId id="256" r:id="rId2"/>
    <p:sldId id="259" r:id="rId3"/>
    <p:sldId id="260" r:id="rId4"/>
    <p:sldId id="261" r:id="rId5"/>
    <p:sldId id="262" r:id="rId6"/>
    <p:sldId id="263" r:id="rId7"/>
    <p:sldId id="264" r:id="rId8"/>
    <p:sldId id="265" r:id="rId9"/>
    <p:sldId id="266" r:id="rId10"/>
    <p:sldId id="267" r:id="rId11"/>
    <p:sldId id="257" r:id="rId12"/>
  </p:sldIdLst>
  <p:sldSz cx="9144000" cy="6858000" type="screen4x3"/>
  <p:notesSz cx="6858000" cy="9144000"/>
  <p:custDataLst>
    <p:tags r:id="rId15"/>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3F54"/>
    <a:srgbClr val="CECECE"/>
    <a:srgbClr val="998F57"/>
    <a:srgbClr val="7B7B7B"/>
    <a:srgbClr val="ADB7C3"/>
    <a:srgbClr val="5D5936"/>
    <a:srgbClr val="2576B7"/>
    <a:srgbClr val="C77709"/>
    <a:srgbClr val="25BCB7"/>
    <a:srgbClr val="D17D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708" autoAdjust="0"/>
    <p:restoredTop sz="90335" autoAdjust="0"/>
  </p:normalViewPr>
  <p:slideViewPr>
    <p:cSldViewPr snapToObjects="1">
      <p:cViewPr>
        <p:scale>
          <a:sx n="100" d="100"/>
          <a:sy n="100" d="100"/>
        </p:scale>
        <p:origin x="-240" y="-90"/>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http://research.sharepoint.infotech.com/FY2013C1/SandL-RiskManagement/Research%20Materials/Pivot%20Table%2012.08%20August%20Project%20Cycle.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http://research.sharepoint.infotech.com/FY2013C1/SandL-RiskManagement/Research%20Materials/Pivot%20Table%2012.08%20August%20Project%20Cycle.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http://research.sharepoint.infotech.com/FY2013C1/SandL-RiskManagement/Research%20Materials/Pivot%20Table%2012.08%20August%20Project%20Cycle.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rdaurelio\Documents\SharePoint%20Drafts\Pivot%20Table%2012.08%20August%20Project%20Cycle.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rdaurelio\Documents\SharePoint%20Drafts\Pivot%20Table%2012.08%20August%20Project%20Cycl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CA" sz="1000" dirty="0"/>
              <a:t>Business Involvement Success (%)</a:t>
            </a:r>
          </a:p>
        </c:rich>
      </c:tx>
      <c:layout/>
      <c:overlay val="1"/>
    </c:title>
    <c:autoTitleDeleted val="0"/>
    <c:plotArea>
      <c:layout/>
      <c:barChart>
        <c:barDir val="bar"/>
        <c:grouping val="clustered"/>
        <c:varyColors val="0"/>
        <c:ser>
          <c:idx val="0"/>
          <c:order val="0"/>
          <c:tx>
            <c:strRef>
              <c:f>'exec sum'!$I$1</c:f>
              <c:strCache>
                <c:ptCount val="1"/>
                <c:pt idx="0">
                  <c:v>Ad-hoc Approach</c:v>
                </c:pt>
              </c:strCache>
            </c:strRef>
          </c:tx>
          <c:invertIfNegative val="0"/>
          <c:dLbls>
            <c:showLegendKey val="0"/>
            <c:showVal val="1"/>
            <c:showCatName val="0"/>
            <c:showSerName val="0"/>
            <c:showPercent val="0"/>
            <c:showBubbleSize val="0"/>
            <c:showLeaderLines val="0"/>
          </c:dLbls>
          <c:cat>
            <c:strLit>
              <c:ptCount val="1"/>
              <c:pt idx="0">
                <c:v> </c:v>
              </c:pt>
            </c:strLit>
          </c:cat>
          <c:val>
            <c:numRef>
              <c:f>'exec sum'!$J$1</c:f>
              <c:numCache>
                <c:formatCode>0%</c:formatCode>
                <c:ptCount val="1"/>
                <c:pt idx="0">
                  <c:v>0.49000000000000032</c:v>
                </c:pt>
              </c:numCache>
            </c:numRef>
          </c:val>
        </c:ser>
        <c:ser>
          <c:idx val="1"/>
          <c:order val="1"/>
          <c:tx>
            <c:strRef>
              <c:f>'exec sum'!$I$2</c:f>
              <c:strCache>
                <c:ptCount val="1"/>
                <c:pt idx="0">
                  <c:v>Formal Strategy</c:v>
                </c:pt>
              </c:strCache>
            </c:strRef>
          </c:tx>
          <c:invertIfNegative val="0"/>
          <c:dLbls>
            <c:showLegendKey val="0"/>
            <c:showVal val="1"/>
            <c:showCatName val="0"/>
            <c:showSerName val="0"/>
            <c:showPercent val="0"/>
            <c:showBubbleSize val="0"/>
            <c:showLeaderLines val="0"/>
          </c:dLbls>
          <c:cat>
            <c:strLit>
              <c:ptCount val="1"/>
              <c:pt idx="0">
                <c:v> </c:v>
              </c:pt>
            </c:strLit>
          </c:cat>
          <c:val>
            <c:numRef>
              <c:f>'exec sum'!$J$2</c:f>
              <c:numCache>
                <c:formatCode>0%</c:formatCode>
                <c:ptCount val="1"/>
                <c:pt idx="0">
                  <c:v>0.88000000000000345</c:v>
                </c:pt>
              </c:numCache>
            </c:numRef>
          </c:val>
        </c:ser>
        <c:dLbls>
          <c:showLegendKey val="0"/>
          <c:showVal val="0"/>
          <c:showCatName val="0"/>
          <c:showSerName val="0"/>
          <c:showPercent val="0"/>
          <c:showBubbleSize val="0"/>
        </c:dLbls>
        <c:gapWidth val="318"/>
        <c:axId val="367995136"/>
        <c:axId val="368005504"/>
      </c:barChart>
      <c:catAx>
        <c:axId val="367995136"/>
        <c:scaling>
          <c:orientation val="minMax"/>
        </c:scaling>
        <c:delete val="0"/>
        <c:axPos val="l"/>
        <c:majorTickMark val="out"/>
        <c:minorTickMark val="none"/>
        <c:tickLblPos val="nextTo"/>
        <c:crossAx val="368005504"/>
        <c:crosses val="autoZero"/>
        <c:auto val="1"/>
        <c:lblAlgn val="ctr"/>
        <c:lblOffset val="100"/>
        <c:noMultiLvlLbl val="0"/>
      </c:catAx>
      <c:valAx>
        <c:axId val="368005504"/>
        <c:scaling>
          <c:orientation val="minMax"/>
        </c:scaling>
        <c:delete val="0"/>
        <c:axPos val="b"/>
        <c:numFmt formatCode="0%" sourceLinked="1"/>
        <c:majorTickMark val="out"/>
        <c:minorTickMark val="none"/>
        <c:tickLblPos val="nextTo"/>
        <c:crossAx val="367995136"/>
        <c:crosses val="autoZero"/>
        <c:crossBetween val="between"/>
        <c:majorUnit val="1"/>
      </c:valAx>
    </c:plotArea>
    <c:legend>
      <c:legendPos val="r"/>
      <c:layout>
        <c:manualLayout>
          <c:xMode val="edge"/>
          <c:yMode val="edge"/>
          <c:x val="0.62124803593251565"/>
          <c:y val="0.43171761403204817"/>
          <c:w val="0.37332518609043785"/>
          <c:h val="0.29927015409621649"/>
        </c:manualLayout>
      </c:layout>
      <c:overlay val="0"/>
      <c:txPr>
        <a:bodyPr/>
        <a:lstStyle/>
        <a:p>
          <a:pPr>
            <a:defRPr sz="800"/>
          </a:pPr>
          <a:endParaRPr lang="en-US"/>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CA" sz="1000" dirty="0"/>
              <a:t>Risk Management Success (%)</a:t>
            </a:r>
          </a:p>
        </c:rich>
      </c:tx>
      <c:layout/>
      <c:overlay val="1"/>
    </c:title>
    <c:autoTitleDeleted val="0"/>
    <c:plotArea>
      <c:layout/>
      <c:barChart>
        <c:barDir val="bar"/>
        <c:grouping val="clustered"/>
        <c:varyColors val="0"/>
        <c:ser>
          <c:idx val="0"/>
          <c:order val="0"/>
          <c:tx>
            <c:strRef>
              <c:f>'exec sum'!$P$1</c:f>
              <c:strCache>
                <c:ptCount val="1"/>
                <c:pt idx="0">
                  <c:v>Not Involved</c:v>
                </c:pt>
              </c:strCache>
            </c:strRef>
          </c:tx>
          <c:invertIfNegative val="0"/>
          <c:dLbls>
            <c:showLegendKey val="0"/>
            <c:showVal val="1"/>
            <c:showCatName val="0"/>
            <c:showSerName val="0"/>
            <c:showPercent val="0"/>
            <c:showBubbleSize val="0"/>
            <c:showLeaderLines val="0"/>
          </c:dLbls>
          <c:cat>
            <c:strLit>
              <c:ptCount val="1"/>
              <c:pt idx="0">
                <c:v> </c:v>
              </c:pt>
            </c:strLit>
          </c:cat>
          <c:val>
            <c:numRef>
              <c:f>'exec sum'!$Q$1</c:f>
              <c:numCache>
                <c:formatCode>0%</c:formatCode>
                <c:ptCount val="1"/>
                <c:pt idx="0">
                  <c:v>0.30000000000000032</c:v>
                </c:pt>
              </c:numCache>
            </c:numRef>
          </c:val>
        </c:ser>
        <c:ser>
          <c:idx val="1"/>
          <c:order val="1"/>
          <c:tx>
            <c:strRef>
              <c:f>'exec sum'!$P$2</c:f>
              <c:strCache>
                <c:ptCount val="1"/>
                <c:pt idx="0">
                  <c:v>Involved</c:v>
                </c:pt>
              </c:strCache>
            </c:strRef>
          </c:tx>
          <c:invertIfNegative val="0"/>
          <c:dLbls>
            <c:showLegendKey val="0"/>
            <c:showVal val="1"/>
            <c:showCatName val="0"/>
            <c:showSerName val="0"/>
            <c:showPercent val="0"/>
            <c:showBubbleSize val="0"/>
            <c:showLeaderLines val="0"/>
          </c:dLbls>
          <c:cat>
            <c:strLit>
              <c:ptCount val="1"/>
              <c:pt idx="0">
                <c:v> </c:v>
              </c:pt>
            </c:strLit>
          </c:cat>
          <c:val>
            <c:numRef>
              <c:f>'exec sum'!$Q$2</c:f>
              <c:numCache>
                <c:formatCode>0%</c:formatCode>
                <c:ptCount val="1"/>
                <c:pt idx="0">
                  <c:v>0.73000000000000065</c:v>
                </c:pt>
              </c:numCache>
            </c:numRef>
          </c:val>
        </c:ser>
        <c:dLbls>
          <c:showLegendKey val="0"/>
          <c:showVal val="0"/>
          <c:showCatName val="0"/>
          <c:showSerName val="0"/>
          <c:showPercent val="0"/>
          <c:showBubbleSize val="0"/>
        </c:dLbls>
        <c:gapWidth val="230"/>
        <c:axId val="368233856"/>
        <c:axId val="368395776"/>
      </c:barChart>
      <c:catAx>
        <c:axId val="368233856"/>
        <c:scaling>
          <c:orientation val="minMax"/>
        </c:scaling>
        <c:delete val="0"/>
        <c:axPos val="l"/>
        <c:majorTickMark val="out"/>
        <c:minorTickMark val="none"/>
        <c:tickLblPos val="nextTo"/>
        <c:crossAx val="368395776"/>
        <c:crosses val="autoZero"/>
        <c:auto val="1"/>
        <c:lblAlgn val="ctr"/>
        <c:lblOffset val="100"/>
        <c:noMultiLvlLbl val="0"/>
      </c:catAx>
      <c:valAx>
        <c:axId val="368395776"/>
        <c:scaling>
          <c:orientation val="minMax"/>
          <c:max val="1"/>
        </c:scaling>
        <c:delete val="0"/>
        <c:axPos val="b"/>
        <c:numFmt formatCode="0%" sourceLinked="1"/>
        <c:majorTickMark val="out"/>
        <c:minorTickMark val="none"/>
        <c:tickLblPos val="nextTo"/>
        <c:crossAx val="368233856"/>
        <c:crosses val="autoZero"/>
        <c:crossBetween val="between"/>
        <c:majorUnit val="1"/>
      </c:valAx>
    </c:plotArea>
    <c:legend>
      <c:legendPos val="r"/>
      <c:layout>
        <c:manualLayout>
          <c:xMode val="edge"/>
          <c:yMode val="edge"/>
          <c:x val="0.67810501436301263"/>
          <c:y val="0.35919880153303402"/>
          <c:w val="0.27898616556573042"/>
          <c:h val="0.28160239693393196"/>
        </c:manualLayout>
      </c:layout>
      <c:overlay val="0"/>
      <c:txPr>
        <a:bodyPr/>
        <a:lstStyle/>
        <a:p>
          <a:pPr>
            <a:defRPr sz="800"/>
          </a:pPr>
          <a:endParaRPr lang="en-US"/>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CA" sz="1000" dirty="0"/>
              <a:t>Risk</a:t>
            </a:r>
            <a:r>
              <a:rPr lang="en-CA" sz="1000" baseline="0" dirty="0"/>
              <a:t> Management Success (%)</a:t>
            </a:r>
            <a:endParaRPr lang="en-CA" sz="1000" dirty="0"/>
          </a:p>
        </c:rich>
      </c:tx>
      <c:layout/>
      <c:overlay val="1"/>
    </c:title>
    <c:autoTitleDeleted val="0"/>
    <c:plotArea>
      <c:layout/>
      <c:barChart>
        <c:barDir val="bar"/>
        <c:grouping val="clustered"/>
        <c:varyColors val="0"/>
        <c:ser>
          <c:idx val="0"/>
          <c:order val="0"/>
          <c:tx>
            <c:strRef>
              <c:f>'exec sum'!$A$1</c:f>
              <c:strCache>
                <c:ptCount val="1"/>
                <c:pt idx="0">
                  <c:v>Ad-hoc Approach</c:v>
                </c:pt>
              </c:strCache>
            </c:strRef>
          </c:tx>
          <c:invertIfNegative val="0"/>
          <c:dLbls>
            <c:showLegendKey val="0"/>
            <c:showVal val="1"/>
            <c:showCatName val="0"/>
            <c:showSerName val="0"/>
            <c:showPercent val="0"/>
            <c:showBubbleSize val="0"/>
            <c:showLeaderLines val="0"/>
          </c:dLbls>
          <c:cat>
            <c:strLit>
              <c:ptCount val="1"/>
              <c:pt idx="0">
                <c:v> </c:v>
              </c:pt>
            </c:strLit>
          </c:cat>
          <c:val>
            <c:numRef>
              <c:f>'exec sum'!$B$1</c:f>
              <c:numCache>
                <c:formatCode>0%</c:formatCode>
                <c:ptCount val="1"/>
                <c:pt idx="0">
                  <c:v>0.53</c:v>
                </c:pt>
              </c:numCache>
            </c:numRef>
          </c:val>
        </c:ser>
        <c:ser>
          <c:idx val="1"/>
          <c:order val="1"/>
          <c:tx>
            <c:strRef>
              <c:f>'exec sum'!$A$2</c:f>
              <c:strCache>
                <c:ptCount val="1"/>
                <c:pt idx="0">
                  <c:v>Formal Strategy</c:v>
                </c:pt>
              </c:strCache>
            </c:strRef>
          </c:tx>
          <c:invertIfNegative val="0"/>
          <c:dLbls>
            <c:showLegendKey val="0"/>
            <c:showVal val="1"/>
            <c:showCatName val="0"/>
            <c:showSerName val="0"/>
            <c:showPercent val="0"/>
            <c:showBubbleSize val="0"/>
            <c:showLeaderLines val="0"/>
          </c:dLbls>
          <c:cat>
            <c:strLit>
              <c:ptCount val="1"/>
              <c:pt idx="0">
                <c:v> </c:v>
              </c:pt>
            </c:strLit>
          </c:cat>
          <c:val>
            <c:numRef>
              <c:f>'exec sum'!$B$2</c:f>
              <c:numCache>
                <c:formatCode>0%</c:formatCode>
                <c:ptCount val="1"/>
                <c:pt idx="0">
                  <c:v>0.81</c:v>
                </c:pt>
              </c:numCache>
            </c:numRef>
          </c:val>
        </c:ser>
        <c:dLbls>
          <c:showLegendKey val="0"/>
          <c:showVal val="0"/>
          <c:showCatName val="0"/>
          <c:showSerName val="0"/>
          <c:showPercent val="0"/>
          <c:showBubbleSize val="0"/>
        </c:dLbls>
        <c:gapWidth val="221"/>
        <c:axId val="421222656"/>
        <c:axId val="338691200"/>
      </c:barChart>
      <c:catAx>
        <c:axId val="421222656"/>
        <c:scaling>
          <c:orientation val="minMax"/>
        </c:scaling>
        <c:delete val="0"/>
        <c:axPos val="l"/>
        <c:majorTickMark val="out"/>
        <c:minorTickMark val="none"/>
        <c:tickLblPos val="nextTo"/>
        <c:crossAx val="338691200"/>
        <c:crosses val="autoZero"/>
        <c:auto val="1"/>
        <c:lblAlgn val="ctr"/>
        <c:lblOffset val="100"/>
        <c:noMultiLvlLbl val="0"/>
      </c:catAx>
      <c:valAx>
        <c:axId val="338691200"/>
        <c:scaling>
          <c:orientation val="minMax"/>
          <c:max val="1"/>
        </c:scaling>
        <c:delete val="0"/>
        <c:axPos val="b"/>
        <c:numFmt formatCode="0%" sourceLinked="1"/>
        <c:majorTickMark val="out"/>
        <c:minorTickMark val="none"/>
        <c:tickLblPos val="nextTo"/>
        <c:crossAx val="421222656"/>
        <c:crosses val="autoZero"/>
        <c:crossBetween val="between"/>
        <c:majorUnit val="1"/>
      </c:valAx>
    </c:plotArea>
    <c:legend>
      <c:legendPos val="r"/>
      <c:layout>
        <c:manualLayout>
          <c:xMode val="edge"/>
          <c:yMode val="edge"/>
          <c:x val="0.66674813909565911"/>
          <c:y val="0.28007838510887917"/>
          <c:w val="0.33325186090434694"/>
          <c:h val="0.43984249885061288"/>
        </c:manualLayout>
      </c:layout>
      <c:overlay val="0"/>
      <c:txPr>
        <a:bodyPr/>
        <a:lstStyle/>
        <a:p>
          <a:pPr>
            <a:defRPr sz="800"/>
          </a:pPr>
          <a:endParaRPr lang="en-US"/>
        </a:p>
      </c:txPr>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dPt>
            <c:idx val="0"/>
            <c:invertIfNegative val="0"/>
            <c:bubble3D val="0"/>
            <c:spPr>
              <a:solidFill>
                <a:schemeClr val="accent1"/>
              </a:solidFill>
            </c:spPr>
          </c:dPt>
          <c:dPt>
            <c:idx val="1"/>
            <c:invertIfNegative val="0"/>
            <c:bubble3D val="0"/>
            <c:spPr>
              <a:solidFill>
                <a:schemeClr val="accent2"/>
              </a:solidFill>
            </c:spPr>
          </c:dPt>
          <c:dLbls>
            <c:showLegendKey val="0"/>
            <c:showVal val="1"/>
            <c:showCatName val="0"/>
            <c:showSerName val="0"/>
            <c:showPercent val="0"/>
            <c:showBubbleSize val="0"/>
            <c:showLeaderLines val="0"/>
          </c:dLbls>
          <c:cat>
            <c:strRef>
              <c:f>Sheet1!$D$10:$D$11</c:f>
              <c:strCache>
                <c:ptCount val="2"/>
                <c:pt idx="0">
                  <c:v>Ad-hoc Approach</c:v>
                </c:pt>
                <c:pt idx="1">
                  <c:v>Formal Strategy</c:v>
                </c:pt>
              </c:strCache>
            </c:strRef>
          </c:cat>
          <c:val>
            <c:numRef>
              <c:f>Sheet1!$E$10:$E$11</c:f>
              <c:numCache>
                <c:formatCode>0%</c:formatCode>
                <c:ptCount val="2"/>
                <c:pt idx="0">
                  <c:v>0.53</c:v>
                </c:pt>
                <c:pt idx="1">
                  <c:v>0.81</c:v>
                </c:pt>
              </c:numCache>
            </c:numRef>
          </c:val>
        </c:ser>
        <c:dLbls>
          <c:showLegendKey val="0"/>
          <c:showVal val="0"/>
          <c:showCatName val="0"/>
          <c:showSerName val="0"/>
          <c:showPercent val="0"/>
          <c:showBubbleSize val="0"/>
        </c:dLbls>
        <c:gapWidth val="150"/>
        <c:axId val="346770432"/>
        <c:axId val="346780416"/>
      </c:barChart>
      <c:catAx>
        <c:axId val="346770432"/>
        <c:scaling>
          <c:orientation val="minMax"/>
        </c:scaling>
        <c:delete val="0"/>
        <c:axPos val="b"/>
        <c:majorTickMark val="out"/>
        <c:minorTickMark val="none"/>
        <c:tickLblPos val="nextTo"/>
        <c:crossAx val="346780416"/>
        <c:crosses val="autoZero"/>
        <c:auto val="1"/>
        <c:lblAlgn val="ctr"/>
        <c:lblOffset val="100"/>
        <c:noMultiLvlLbl val="0"/>
      </c:catAx>
      <c:valAx>
        <c:axId val="346780416"/>
        <c:scaling>
          <c:orientation val="minMax"/>
          <c:max val="1"/>
        </c:scaling>
        <c:delete val="0"/>
        <c:axPos val="l"/>
        <c:title>
          <c:tx>
            <c:rich>
              <a:bodyPr rot="-5400000" vert="horz"/>
              <a:lstStyle/>
              <a:p>
                <a:pPr>
                  <a:defRPr b="0"/>
                </a:pPr>
                <a:r>
                  <a:rPr lang="en-CA" b="0" dirty="0" smtClean="0"/>
                  <a:t>Risk Management Success (%)</a:t>
                </a:r>
                <a:endParaRPr lang="en-CA" b="0" dirty="0"/>
              </a:p>
            </c:rich>
          </c:tx>
          <c:layout/>
          <c:overlay val="0"/>
        </c:title>
        <c:numFmt formatCode="0%" sourceLinked="1"/>
        <c:majorTickMark val="out"/>
        <c:minorTickMark val="none"/>
        <c:tickLblPos val="nextTo"/>
        <c:crossAx val="346770432"/>
        <c:crosses val="autoZero"/>
        <c:crossBetween val="between"/>
      </c:valAx>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dPt>
            <c:idx val="0"/>
            <c:invertIfNegative val="0"/>
            <c:bubble3D val="0"/>
            <c:spPr>
              <a:solidFill>
                <a:schemeClr val="accent1"/>
              </a:solidFill>
            </c:spPr>
          </c:dPt>
          <c:dPt>
            <c:idx val="1"/>
            <c:invertIfNegative val="0"/>
            <c:bubble3D val="0"/>
            <c:spPr>
              <a:solidFill>
                <a:schemeClr val="accent2"/>
              </a:solidFill>
            </c:spPr>
          </c:dPt>
          <c:dLbls>
            <c:dLbl>
              <c:idx val="0"/>
              <c:layout/>
              <c:showLegendKey val="0"/>
              <c:showVal val="1"/>
              <c:showCatName val="0"/>
              <c:showSerName val="0"/>
              <c:showPercent val="0"/>
              <c:showBubbleSize val="0"/>
            </c:dLbl>
            <c:dLbl>
              <c:idx val="1"/>
              <c:layout/>
              <c:showLegendKey val="0"/>
              <c:showVal val="1"/>
              <c:showCatName val="0"/>
              <c:showSerName val="0"/>
              <c:showPercent val="0"/>
              <c:showBubbleSize val="0"/>
            </c:dLbl>
            <c:showLegendKey val="0"/>
            <c:showVal val="0"/>
            <c:showCatName val="0"/>
            <c:showSerName val="0"/>
            <c:showPercent val="0"/>
            <c:showBubbleSize val="0"/>
          </c:dLbls>
          <c:cat>
            <c:strRef>
              <c:f>Sheet1!$G$23:$G$24</c:f>
              <c:strCache>
                <c:ptCount val="2"/>
                <c:pt idx="0">
                  <c:v>Ad-hoc Approach</c:v>
                </c:pt>
                <c:pt idx="1">
                  <c:v>Formal Strategy</c:v>
                </c:pt>
              </c:strCache>
            </c:strRef>
          </c:cat>
          <c:val>
            <c:numRef>
              <c:f>Sheet1!$H$23:$H$24</c:f>
              <c:numCache>
                <c:formatCode>0%</c:formatCode>
                <c:ptCount val="2"/>
                <c:pt idx="0">
                  <c:v>0.49000000000000032</c:v>
                </c:pt>
                <c:pt idx="1">
                  <c:v>0.88</c:v>
                </c:pt>
              </c:numCache>
            </c:numRef>
          </c:val>
        </c:ser>
        <c:dLbls>
          <c:showLegendKey val="0"/>
          <c:showVal val="0"/>
          <c:showCatName val="0"/>
          <c:showSerName val="0"/>
          <c:showPercent val="0"/>
          <c:showBubbleSize val="0"/>
        </c:dLbls>
        <c:gapWidth val="150"/>
        <c:axId val="346915200"/>
        <c:axId val="346916736"/>
      </c:barChart>
      <c:catAx>
        <c:axId val="346915200"/>
        <c:scaling>
          <c:orientation val="minMax"/>
        </c:scaling>
        <c:delete val="0"/>
        <c:axPos val="b"/>
        <c:majorTickMark val="out"/>
        <c:minorTickMark val="none"/>
        <c:tickLblPos val="nextTo"/>
        <c:crossAx val="346916736"/>
        <c:crosses val="autoZero"/>
        <c:auto val="1"/>
        <c:lblAlgn val="ctr"/>
        <c:lblOffset val="100"/>
        <c:noMultiLvlLbl val="0"/>
      </c:catAx>
      <c:valAx>
        <c:axId val="346916736"/>
        <c:scaling>
          <c:orientation val="minMax"/>
        </c:scaling>
        <c:delete val="0"/>
        <c:axPos val="l"/>
        <c:title>
          <c:tx>
            <c:rich>
              <a:bodyPr rot="-5400000" vert="horz"/>
              <a:lstStyle/>
              <a:p>
                <a:pPr>
                  <a:defRPr b="0"/>
                </a:pPr>
                <a:r>
                  <a:rPr lang="en-US" b="0" dirty="0" smtClean="0"/>
                  <a:t>Business Involvement </a:t>
                </a:r>
                <a:r>
                  <a:rPr lang="en-US" b="0" dirty="0"/>
                  <a:t>Success (%)</a:t>
                </a:r>
              </a:p>
            </c:rich>
          </c:tx>
          <c:layout/>
          <c:overlay val="0"/>
        </c:title>
        <c:numFmt formatCode="0%" sourceLinked="1"/>
        <c:majorTickMark val="out"/>
        <c:minorTickMark val="none"/>
        <c:tickLblPos val="nextTo"/>
        <c:crossAx val="346915200"/>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05/12/2012</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31224431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36636015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extLst>
      <p:ext uri="{BB962C8B-B14F-4D97-AF65-F5344CB8AC3E}">
        <p14:creationId xmlns:p14="http://schemas.microsoft.com/office/powerpoint/2010/main" val="2185973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28661776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a:p>
        </p:txBody>
      </p:sp>
    </p:spTree>
    <p:extLst>
      <p:ext uri="{BB962C8B-B14F-4D97-AF65-F5344CB8AC3E}">
        <p14:creationId xmlns:p14="http://schemas.microsoft.com/office/powerpoint/2010/main" val="4111161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3</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279677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24557239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1319501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2607487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3525537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28607865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169399638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30207346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95" r:id="rId2"/>
    <p:sldLayoutId id="2147483697" r:id="rId3"/>
    <p:sldLayoutId id="2147483698" r:id="rId4"/>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storyboard-create-a-formal-risk-management-strategy?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jpg"/><Relationship Id="rId4" Type="http://schemas.openxmlformats.org/officeDocument/2006/relationships/image" Target="../media/image1.gif"/></Relationships>
</file>

<file path=ppt/slides/_rels/slide10.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image" Target="../media/image3.emf"/><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oleObject" Target="../embeddings/oleObject5.bin"/><Relationship Id="rId2" Type="http://schemas.openxmlformats.org/officeDocument/2006/relationships/tags" Target="../tags/tag59.xml"/><Relationship Id="rId1" Type="http://schemas.openxmlformats.org/officeDocument/2006/relationships/vmlDrawing" Target="../drawings/vmlDrawing5.vml"/><Relationship Id="rId6" Type="http://schemas.openxmlformats.org/officeDocument/2006/relationships/tags" Target="../tags/tag63.xml"/><Relationship Id="rId11" Type="http://schemas.openxmlformats.org/officeDocument/2006/relationships/notesSlide" Target="../notesSlides/notesSlide10.xml"/><Relationship Id="rId5" Type="http://schemas.openxmlformats.org/officeDocument/2006/relationships/tags" Target="../tags/tag62.xml"/><Relationship Id="rId10" Type="http://schemas.openxmlformats.org/officeDocument/2006/relationships/slideLayout" Target="../slideLayouts/slideLayout4.xml"/><Relationship Id="rId4" Type="http://schemas.openxmlformats.org/officeDocument/2006/relationships/tags" Target="../tags/tag61.xml"/><Relationship Id="rId9" Type="http://schemas.openxmlformats.org/officeDocument/2006/relationships/tags" Target="../tags/tag66.xml"/></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5.gif"/><Relationship Id="rId5" Type="http://schemas.openxmlformats.org/officeDocument/2006/relationships/image" Target="../media/image14.png"/><Relationship Id="rId4" Type="http://schemas.openxmlformats.org/officeDocument/2006/relationships/hyperlink" Target="http://www.infotech.com/research/ss/it-storyboard-create-a-formal-risk-management-strategy?utm_source=SS_Sample&amp;utm_medium=Collateral&amp;utm_campaign=Collateral"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chart" Target="../charts/chart3.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oleObject" Target="../embeddings/oleObject1.bin"/><Relationship Id="rId3" Type="http://schemas.openxmlformats.org/officeDocument/2006/relationships/tags" Target="../tags/tag3.xml"/><Relationship Id="rId21" Type="http://schemas.openxmlformats.org/officeDocument/2006/relationships/chart" Target="../charts/chart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notesSlide" Target="../notesSlides/notesSlide4.xml"/><Relationship Id="rId2" Type="http://schemas.openxmlformats.org/officeDocument/2006/relationships/tags" Target="../tags/tag2.xml"/><Relationship Id="rId16" Type="http://schemas.openxmlformats.org/officeDocument/2006/relationships/slideLayout" Target="../slideLayouts/slideLayout4.xml"/><Relationship Id="rId20" Type="http://schemas.openxmlformats.org/officeDocument/2006/relationships/image" Target="../media/image4.wm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image" Target="../media/image3.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5.wmf"/></Relationships>
</file>

<file path=ppt/slides/_rels/slide5.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chart" Target="../charts/chart5.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notesSlide" Target="../notesSlides/notesSlide5.xml"/><Relationship Id="rId5" Type="http://schemas.openxmlformats.org/officeDocument/2006/relationships/slideLayout" Target="../slideLayouts/slideLayout4.xml"/><Relationship Id="rId4" Type="http://schemas.openxmlformats.org/officeDocument/2006/relationships/tags" Target="../tags/tag1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6.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image" Target="../media/image7.pn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image" Target="../media/image3.emf"/><Relationship Id="rId2" Type="http://schemas.openxmlformats.org/officeDocument/2006/relationships/tags" Target="../tags/tag22.xml"/><Relationship Id="rId16" Type="http://schemas.openxmlformats.org/officeDocument/2006/relationships/oleObject" Target="../embeddings/oleObject2.bin"/><Relationship Id="rId20" Type="http://schemas.openxmlformats.org/officeDocument/2006/relationships/image" Target="../media/image8.wmf"/><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notesSlide" Target="../notesSlides/notesSlide7.xml"/><Relationship Id="rId10" Type="http://schemas.openxmlformats.org/officeDocument/2006/relationships/tags" Target="../tags/tag30.xml"/><Relationship Id="rId19" Type="http://schemas.openxmlformats.org/officeDocument/2006/relationships/hyperlink" Target="http://www.infotech.com/research/ss/it-wco-it-risk-profile-tool" TargetMode="Externa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9.png"/><Relationship Id="rId3" Type="http://schemas.openxmlformats.org/officeDocument/2006/relationships/tags" Target="../tags/tag35.xml"/><Relationship Id="rId21" Type="http://schemas.openxmlformats.org/officeDocument/2006/relationships/image" Target="../media/image10.wmf"/><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3.emf"/><Relationship Id="rId2" Type="http://schemas.openxmlformats.org/officeDocument/2006/relationships/tags" Target="../tags/tag34.xml"/><Relationship Id="rId16" Type="http://schemas.openxmlformats.org/officeDocument/2006/relationships/oleObject" Target="../embeddings/oleObject3.bin"/><Relationship Id="rId20" Type="http://schemas.openxmlformats.org/officeDocument/2006/relationships/image" Target="../media/image8.wmf"/><Relationship Id="rId1" Type="http://schemas.openxmlformats.org/officeDocument/2006/relationships/vmlDrawing" Target="../drawings/vmlDrawing3.v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notesSlide" Target="../notesSlides/notesSlide8.xml"/><Relationship Id="rId10" Type="http://schemas.openxmlformats.org/officeDocument/2006/relationships/tags" Target="../tags/tag42.xml"/><Relationship Id="rId19" Type="http://schemas.openxmlformats.org/officeDocument/2006/relationships/hyperlink" Target="http://www.infotech.com/research/ss/it-wco-it-risk-profile-tool" TargetMode="Externa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image" Target="../media/image11.emf"/><Relationship Id="rId3" Type="http://schemas.openxmlformats.org/officeDocument/2006/relationships/tags" Target="../tags/tag47.xml"/><Relationship Id="rId21" Type="http://schemas.openxmlformats.org/officeDocument/2006/relationships/hyperlink" Target="http://www.infotech.com/research/ss/it-wco-it-risk-profile-tool" TargetMode="Externa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oleObject" Target="../embeddings/oleObject4.bin"/><Relationship Id="rId2" Type="http://schemas.openxmlformats.org/officeDocument/2006/relationships/tags" Target="../tags/tag46.xml"/><Relationship Id="rId16" Type="http://schemas.openxmlformats.org/officeDocument/2006/relationships/notesSlide" Target="../notesSlides/notesSlide9.xml"/><Relationship Id="rId20" Type="http://schemas.openxmlformats.org/officeDocument/2006/relationships/hyperlink" Target="http://www.infotech.com/research/ss/it-risk-management-action-plan-template" TargetMode="External"/><Relationship Id="rId1" Type="http://schemas.openxmlformats.org/officeDocument/2006/relationships/vmlDrawing" Target="../drawings/vmlDrawing4.v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slideLayout" Target="../slideLayouts/slideLayout2.xml"/><Relationship Id="rId23" Type="http://schemas.openxmlformats.org/officeDocument/2006/relationships/image" Target="../media/image13.png"/><Relationship Id="rId10" Type="http://schemas.openxmlformats.org/officeDocument/2006/relationships/tags" Target="../tags/tag54.xml"/><Relationship Id="rId19" Type="http://schemas.openxmlformats.org/officeDocument/2006/relationships/image" Target="../media/image12.png"/><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image" Target="../media/image8.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CA" dirty="0"/>
              <a:t>Create a Formal Risk Management Strategy</a:t>
            </a:r>
            <a:endParaRPr lang="en-US" dirty="0"/>
          </a:p>
          <a:p>
            <a:pPr lvl="0"/>
            <a:endParaRPr lang="en-US" dirty="0" smtClean="0"/>
          </a:p>
        </p:txBody>
      </p:sp>
      <p:sp>
        <p:nvSpPr>
          <p:cNvPr id="8" name="Text Placeholder 7"/>
          <p:cNvSpPr>
            <a:spLocks noGrp="1"/>
          </p:cNvSpPr>
          <p:nvPr>
            <p:ph type="body" sz="quarter" idx="16"/>
          </p:nvPr>
        </p:nvSpPr>
        <p:spPr/>
        <p:txBody>
          <a:bodyPr/>
          <a:lstStyle/>
          <a:p>
            <a:r>
              <a:rPr lang="en-CA" dirty="0"/>
              <a:t>Strategize with the business in mind, but be prepared to act alone.</a:t>
            </a:r>
          </a:p>
          <a:p>
            <a:endParaRPr lang="en-CA" dirty="0"/>
          </a:p>
        </p:txBody>
      </p:sp>
      <p:grpSp>
        <p:nvGrpSpPr>
          <p:cNvPr id="10" name="Group 9"/>
          <p:cNvGrpSpPr/>
          <p:nvPr/>
        </p:nvGrpSpPr>
        <p:grpSpPr>
          <a:xfrm>
            <a:off x="3550" y="5276378"/>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2 Info-Tech Research Group</a:t>
              </a:r>
              <a:endParaRPr lang="en-CA" sz="800" dirty="0">
                <a:solidFill>
                  <a:schemeClr val="bg1">
                    <a:lumMod val="65000"/>
                  </a:schemeClr>
                </a:solidFill>
              </a:endParaRPr>
            </a:p>
          </p:txBody>
        </p:sp>
      </p:gr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255" y="6057900"/>
            <a:ext cx="9144000" cy="800100"/>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9"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42"/>
          <p:cNvGrpSpPr/>
          <p:nvPr>
            <p:custDataLst>
              <p:tags r:id="rId3"/>
            </p:custDataLst>
          </p:nvPr>
        </p:nvGrpSpPr>
        <p:grpSpPr>
          <a:xfrm>
            <a:off x="251520" y="5349273"/>
            <a:ext cx="8574899" cy="960047"/>
            <a:chOff x="251520" y="5025236"/>
            <a:chExt cx="8574899" cy="960047"/>
          </a:xfrm>
        </p:grpSpPr>
        <p:sp>
          <p:nvSpPr>
            <p:cNvPr id="37" name="Rounded Rectangle 36"/>
            <p:cNvSpPr/>
            <p:nvPr/>
          </p:nvSpPr>
          <p:spPr>
            <a:xfrm>
              <a:off x="251520" y="5025236"/>
              <a:ext cx="4795375" cy="2316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r>
                <a:rPr lang="en-CA" sz="1200" b="1" dirty="0">
                  <a:solidFill>
                    <a:srgbClr val="333333"/>
                  </a:solidFill>
                </a:rPr>
                <a:t>Communicate Risk</a:t>
              </a:r>
            </a:p>
          </p:txBody>
        </p:sp>
        <p:sp>
          <p:nvSpPr>
            <p:cNvPr id="38" name="Text Placeholder 2"/>
            <p:cNvSpPr txBox="1">
              <a:spLocks/>
            </p:cNvSpPr>
            <p:nvPr/>
          </p:nvSpPr>
          <p:spPr bwMode="auto">
            <a:xfrm>
              <a:off x="251520" y="5256910"/>
              <a:ext cx="8574899" cy="72837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174625" indent="-174625" algn="l" eaLnBrk="0" fontAlgn="base" hangingPunct="0">
                <a:spcAft>
                  <a:spcPct val="0"/>
                </a:spcAft>
                <a:buClr>
                  <a:srgbClr val="333333"/>
                </a:buClr>
                <a:buSzPct val="120000"/>
                <a:buFont typeface="Arial" pitchFamily="34" charset="0"/>
                <a:buChar char="•"/>
                <a:defRPr/>
              </a:pPr>
              <a:r>
                <a:rPr lang="en-CA" sz="1200" dirty="0" smtClean="0">
                  <a:solidFill>
                    <a:srgbClr val="333333"/>
                  </a:solidFill>
                </a:rPr>
                <a:t>Frequently communicate severe risk, and risk management successes to business leaders who are interested in high-level results. Formal strategies were </a:t>
              </a:r>
              <a:r>
                <a:rPr lang="en-CA" sz="1200" b="1" dirty="0" smtClean="0">
                  <a:solidFill>
                    <a:srgbClr val="333333"/>
                  </a:solidFill>
                </a:rPr>
                <a:t>103% better in communicating risk </a:t>
              </a:r>
              <a:r>
                <a:rPr lang="en-CA" sz="1200" dirty="0" smtClean="0">
                  <a:solidFill>
                    <a:srgbClr val="333333"/>
                  </a:solidFill>
                </a:rPr>
                <a:t>than ad-hoc approaches.</a:t>
              </a:r>
            </a:p>
            <a:p>
              <a:pPr marL="174625" indent="-174625" algn="l" eaLnBrk="0" fontAlgn="base" hangingPunct="0">
                <a:spcAft>
                  <a:spcPct val="0"/>
                </a:spcAft>
                <a:buClr>
                  <a:srgbClr val="333333"/>
                </a:buClr>
                <a:buSzPct val="120000"/>
                <a:buFont typeface="Arial" pitchFamily="34" charset="0"/>
                <a:buChar char="•"/>
                <a:defRPr/>
              </a:pPr>
              <a:r>
                <a:rPr lang="en-CA" sz="1200" dirty="0" smtClean="0">
                  <a:solidFill>
                    <a:srgbClr val="333333"/>
                  </a:solidFill>
                </a:rPr>
                <a:t>Leverage business executives who sit on the RSMC to continuously update the lines of business on current risks. Organizations who had business involvement were </a:t>
              </a:r>
              <a:r>
                <a:rPr lang="en-CA" sz="1200" b="1" dirty="0" smtClean="0">
                  <a:solidFill>
                    <a:srgbClr val="333333"/>
                  </a:solidFill>
                </a:rPr>
                <a:t>76% better in communicating risk </a:t>
              </a:r>
              <a:r>
                <a:rPr lang="en-CA" sz="1200" dirty="0" smtClean="0">
                  <a:solidFill>
                    <a:srgbClr val="333333"/>
                  </a:solidFill>
                </a:rPr>
                <a:t>than those without it.</a:t>
              </a:r>
              <a:endParaRPr lang="en-CA" sz="1200" dirty="0">
                <a:solidFill>
                  <a:srgbClr val="333333"/>
                </a:solidFill>
              </a:endParaRPr>
            </a:p>
          </p:txBody>
        </p:sp>
      </p:grpSp>
      <p:sp>
        <p:nvSpPr>
          <p:cNvPr id="2" name="Title 1"/>
          <p:cNvSpPr>
            <a:spLocks noGrp="1"/>
          </p:cNvSpPr>
          <p:nvPr>
            <p:ph type="title"/>
            <p:custDataLst>
              <p:tags r:id="rId4"/>
            </p:custDataLst>
          </p:nvPr>
        </p:nvSpPr>
        <p:spPr/>
        <p:txBody>
          <a:bodyPr/>
          <a:lstStyle/>
          <a:p>
            <a:r>
              <a:rPr lang="en-CA" dirty="0" smtClean="0"/>
              <a:t>Conclusion</a:t>
            </a:r>
            <a:endParaRPr lang="en-CA" dirty="0"/>
          </a:p>
        </p:txBody>
      </p:sp>
      <p:sp>
        <p:nvSpPr>
          <p:cNvPr id="9" name="Text Placeholder 2"/>
          <p:cNvSpPr txBox="1">
            <a:spLocks/>
          </p:cNvSpPr>
          <p:nvPr>
            <p:custDataLst>
              <p:tags r:id="rId5"/>
            </p:custDataLst>
          </p:nvPr>
        </p:nvSpPr>
        <p:spPr bwMode="auto">
          <a:xfrm>
            <a:off x="262098" y="1586169"/>
            <a:ext cx="8056895" cy="72670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fontAlgn="base" hangingPunct="0">
              <a:spcBef>
                <a:spcPts val="500"/>
              </a:spcBef>
              <a:spcAft>
                <a:spcPct val="0"/>
              </a:spcAft>
              <a:buClr>
                <a:srgbClr val="333333"/>
              </a:buClr>
              <a:buSzPct val="120000"/>
              <a:buFont typeface="Arial" pitchFamily="34" charset="0"/>
              <a:buChar char="•"/>
              <a:defRPr/>
            </a:pPr>
            <a:endParaRPr lang="en-CA" sz="1200" dirty="0">
              <a:solidFill>
                <a:srgbClr val="333333"/>
              </a:solidFill>
            </a:endParaRPr>
          </a:p>
        </p:txBody>
      </p:sp>
      <p:grpSp>
        <p:nvGrpSpPr>
          <p:cNvPr id="4" name="Group 38"/>
          <p:cNvGrpSpPr/>
          <p:nvPr>
            <p:custDataLst>
              <p:tags r:id="rId6"/>
            </p:custDataLst>
          </p:nvPr>
        </p:nvGrpSpPr>
        <p:grpSpPr>
          <a:xfrm>
            <a:off x="251520" y="1193568"/>
            <a:ext cx="8574899" cy="1083304"/>
            <a:chOff x="251520" y="1193568"/>
            <a:chExt cx="8574899" cy="1083304"/>
          </a:xfrm>
        </p:grpSpPr>
        <p:sp>
          <p:nvSpPr>
            <p:cNvPr id="8" name="Rounded Rectangle 7"/>
            <p:cNvSpPr/>
            <p:nvPr/>
          </p:nvSpPr>
          <p:spPr>
            <a:xfrm>
              <a:off x="251520" y="1193568"/>
              <a:ext cx="4795375" cy="2316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r>
                <a:rPr lang="en-CA" sz="1200" b="1" dirty="0" smtClean="0">
                  <a:solidFill>
                    <a:srgbClr val="333333"/>
                  </a:solidFill>
                </a:rPr>
                <a:t>Value of Formal Risk Management</a:t>
              </a:r>
              <a:endParaRPr lang="en-CA" sz="1200" b="1" dirty="0">
                <a:solidFill>
                  <a:srgbClr val="333333"/>
                </a:solidFill>
              </a:endParaRPr>
            </a:p>
          </p:txBody>
        </p:sp>
        <p:sp>
          <p:nvSpPr>
            <p:cNvPr id="7" name="Text Placeholder 2"/>
            <p:cNvSpPr txBox="1">
              <a:spLocks/>
            </p:cNvSpPr>
            <p:nvPr/>
          </p:nvSpPr>
          <p:spPr bwMode="auto">
            <a:xfrm>
              <a:off x="251520" y="1425242"/>
              <a:ext cx="8574899" cy="85163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174625" indent="-174625" algn="l" eaLnBrk="0" fontAlgn="base" hangingPunct="0">
                <a:spcAft>
                  <a:spcPct val="0"/>
                </a:spcAft>
                <a:buClr>
                  <a:srgbClr val="333333"/>
                </a:buClr>
                <a:buSzPct val="120000"/>
                <a:buFont typeface="Arial" pitchFamily="34" charset="0"/>
                <a:buChar char="•"/>
                <a:defRPr/>
              </a:pPr>
              <a:r>
                <a:rPr lang="en-CA" sz="1200" dirty="0" smtClean="0">
                  <a:solidFill>
                    <a:srgbClr val="333333"/>
                  </a:solidFill>
                </a:rPr>
                <a:t>Formal risk management strategies provide benefit in </a:t>
              </a:r>
              <a:r>
                <a:rPr lang="en-CA" sz="1200" i="1" dirty="0" smtClean="0">
                  <a:solidFill>
                    <a:srgbClr val="333333"/>
                  </a:solidFill>
                </a:rPr>
                <a:t>seven key areas</a:t>
              </a:r>
              <a:r>
                <a:rPr lang="en-CA" sz="1200" dirty="0" smtClean="0">
                  <a:solidFill>
                    <a:srgbClr val="333333"/>
                  </a:solidFill>
                </a:rPr>
                <a:t>: external compliance, business compliance, the communication of costs and benefits of risk, data security, IT service delivery, management of IT-related business risks, and IT project completion.</a:t>
              </a:r>
            </a:p>
            <a:p>
              <a:pPr marL="174625" indent="-174625" algn="l" eaLnBrk="0" fontAlgn="base" hangingPunct="0">
                <a:spcAft>
                  <a:spcPct val="0"/>
                </a:spcAft>
                <a:buClr>
                  <a:srgbClr val="333333"/>
                </a:buClr>
                <a:buSzPct val="120000"/>
                <a:buFont typeface="Arial" pitchFamily="34" charset="0"/>
                <a:buChar char="•"/>
                <a:defRPr/>
              </a:pPr>
              <a:r>
                <a:rPr lang="en-CA" sz="1200" dirty="0" smtClean="0">
                  <a:solidFill>
                    <a:srgbClr val="333333"/>
                  </a:solidFill>
                </a:rPr>
                <a:t>Formal strategies saw </a:t>
              </a:r>
              <a:r>
                <a:rPr lang="en-CA" sz="1200" b="1" dirty="0" smtClean="0">
                  <a:solidFill>
                    <a:srgbClr val="333333"/>
                  </a:solidFill>
                </a:rPr>
                <a:t>107% more benefit </a:t>
              </a:r>
              <a:r>
                <a:rPr lang="en-CA" sz="1200" dirty="0" smtClean="0">
                  <a:solidFill>
                    <a:srgbClr val="333333"/>
                  </a:solidFill>
                </a:rPr>
                <a:t>in these key areas than those who used ad-hoc approaches, on average.</a:t>
              </a:r>
              <a:endParaRPr lang="en-CA" sz="1200" dirty="0">
                <a:solidFill>
                  <a:srgbClr val="333333"/>
                </a:solidFill>
              </a:endParaRPr>
            </a:p>
          </p:txBody>
        </p:sp>
      </p:grpSp>
      <p:grpSp>
        <p:nvGrpSpPr>
          <p:cNvPr id="5" name="Group 39"/>
          <p:cNvGrpSpPr/>
          <p:nvPr>
            <p:custDataLst>
              <p:tags r:id="rId7"/>
            </p:custDataLst>
          </p:nvPr>
        </p:nvGrpSpPr>
        <p:grpSpPr>
          <a:xfrm>
            <a:off x="251520" y="2324937"/>
            <a:ext cx="8574899" cy="960047"/>
            <a:chOff x="251520" y="2144916"/>
            <a:chExt cx="8574899" cy="960047"/>
          </a:xfrm>
        </p:grpSpPr>
        <p:sp>
          <p:nvSpPr>
            <p:cNvPr id="31" name="Rounded Rectangle 30"/>
            <p:cNvSpPr/>
            <p:nvPr/>
          </p:nvSpPr>
          <p:spPr>
            <a:xfrm>
              <a:off x="251520" y="2144916"/>
              <a:ext cx="4795375" cy="2316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r>
                <a:rPr lang="en-CA" sz="1200" b="1" dirty="0">
                  <a:solidFill>
                    <a:srgbClr val="333333"/>
                  </a:solidFill>
                </a:rPr>
                <a:t>Identify Risk</a:t>
              </a:r>
            </a:p>
          </p:txBody>
        </p:sp>
        <p:sp>
          <p:nvSpPr>
            <p:cNvPr id="32" name="Text Placeholder 2"/>
            <p:cNvSpPr txBox="1">
              <a:spLocks/>
            </p:cNvSpPr>
            <p:nvPr/>
          </p:nvSpPr>
          <p:spPr bwMode="auto">
            <a:xfrm>
              <a:off x="251520" y="2376590"/>
              <a:ext cx="8574899" cy="72837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174625" indent="-174625" algn="l" eaLnBrk="0" fontAlgn="base" hangingPunct="0">
                <a:spcAft>
                  <a:spcPct val="0"/>
                </a:spcAft>
                <a:buClr>
                  <a:srgbClr val="333333"/>
                </a:buClr>
                <a:buSzPct val="120000"/>
                <a:buFont typeface="Arial" pitchFamily="34" charset="0"/>
                <a:buChar char="•"/>
                <a:defRPr/>
              </a:pPr>
              <a:r>
                <a:rPr lang="en-CA" sz="1200" dirty="0" smtClean="0">
                  <a:solidFill>
                    <a:srgbClr val="333333"/>
                  </a:solidFill>
                </a:rPr>
                <a:t>Use risk scenarios to formally identify risk events. Risk scenarios allow IT to capture risk across the entire organization, not just technology-related risks. Formal strategies were </a:t>
              </a:r>
              <a:r>
                <a:rPr lang="en-CA" sz="1200" b="1" dirty="0" smtClean="0">
                  <a:solidFill>
                    <a:srgbClr val="333333"/>
                  </a:solidFill>
                </a:rPr>
                <a:t>85% better in identifying risk </a:t>
              </a:r>
              <a:r>
                <a:rPr lang="en-CA" sz="1200" dirty="0" smtClean="0">
                  <a:solidFill>
                    <a:srgbClr val="333333"/>
                  </a:solidFill>
                </a:rPr>
                <a:t>than ad-hoc approaches.</a:t>
              </a:r>
            </a:p>
            <a:p>
              <a:pPr marL="174625" indent="-174625" algn="l" eaLnBrk="0" fontAlgn="base" hangingPunct="0">
                <a:spcAft>
                  <a:spcPct val="0"/>
                </a:spcAft>
                <a:buClr>
                  <a:srgbClr val="333333"/>
                </a:buClr>
                <a:buSzPct val="120000"/>
                <a:buFont typeface="Arial" pitchFamily="34" charset="0"/>
                <a:buChar char="•"/>
                <a:defRPr/>
              </a:pPr>
              <a:r>
                <a:rPr lang="en-CA" sz="1200" dirty="0" smtClean="0">
                  <a:solidFill>
                    <a:srgbClr val="333333"/>
                  </a:solidFill>
                </a:rPr>
                <a:t>Approach the business with </a:t>
              </a:r>
              <a:r>
                <a:rPr lang="en-CA" sz="1200" i="1" dirty="0" smtClean="0">
                  <a:solidFill>
                    <a:srgbClr val="333333"/>
                  </a:solidFill>
                </a:rPr>
                <a:t>Risk Identification Interview Templates</a:t>
              </a:r>
              <a:r>
                <a:rPr lang="en-CA" sz="1200" dirty="0" smtClean="0">
                  <a:solidFill>
                    <a:srgbClr val="333333"/>
                  </a:solidFill>
                </a:rPr>
                <a:t> to target the important concerns of business leaders. Organizations who had business involvement were </a:t>
              </a:r>
              <a:r>
                <a:rPr lang="en-CA" sz="1200" b="1" dirty="0" smtClean="0">
                  <a:solidFill>
                    <a:srgbClr val="333333"/>
                  </a:solidFill>
                </a:rPr>
                <a:t>79% better in identifying risk </a:t>
              </a:r>
              <a:r>
                <a:rPr lang="en-CA" sz="1200" dirty="0" smtClean="0">
                  <a:solidFill>
                    <a:srgbClr val="333333"/>
                  </a:solidFill>
                </a:rPr>
                <a:t>than those without it.</a:t>
              </a:r>
              <a:endParaRPr lang="en-CA" sz="1200" dirty="0">
                <a:solidFill>
                  <a:srgbClr val="333333"/>
                </a:solidFill>
              </a:endParaRPr>
            </a:p>
          </p:txBody>
        </p:sp>
      </p:grpSp>
      <p:grpSp>
        <p:nvGrpSpPr>
          <p:cNvPr id="6" name="Group 40"/>
          <p:cNvGrpSpPr/>
          <p:nvPr>
            <p:custDataLst>
              <p:tags r:id="rId8"/>
            </p:custDataLst>
          </p:nvPr>
        </p:nvGrpSpPr>
        <p:grpSpPr>
          <a:xfrm>
            <a:off x="251520" y="3333049"/>
            <a:ext cx="8574899" cy="960047"/>
            <a:chOff x="251520" y="3117024"/>
            <a:chExt cx="8574899" cy="960047"/>
          </a:xfrm>
        </p:grpSpPr>
        <p:sp>
          <p:nvSpPr>
            <p:cNvPr id="33" name="Rounded Rectangle 32"/>
            <p:cNvSpPr/>
            <p:nvPr/>
          </p:nvSpPr>
          <p:spPr>
            <a:xfrm>
              <a:off x="251520" y="3117024"/>
              <a:ext cx="4795375" cy="2316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r>
                <a:rPr lang="en-CA" sz="1200" b="1" dirty="0">
                  <a:solidFill>
                    <a:srgbClr val="333333"/>
                  </a:solidFill>
                </a:rPr>
                <a:t>Assess Risk</a:t>
              </a:r>
            </a:p>
          </p:txBody>
        </p:sp>
        <p:sp>
          <p:nvSpPr>
            <p:cNvPr id="34" name="Text Placeholder 2"/>
            <p:cNvSpPr txBox="1">
              <a:spLocks/>
            </p:cNvSpPr>
            <p:nvPr/>
          </p:nvSpPr>
          <p:spPr bwMode="auto">
            <a:xfrm>
              <a:off x="251520" y="3348699"/>
              <a:ext cx="8574899" cy="7283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174625" indent="-174625" algn="l" eaLnBrk="0" fontAlgn="base" hangingPunct="0">
                <a:spcAft>
                  <a:spcPct val="0"/>
                </a:spcAft>
                <a:buClr>
                  <a:srgbClr val="333333"/>
                </a:buClr>
                <a:buSzPct val="120000"/>
                <a:buFont typeface="Arial" pitchFamily="34" charset="0"/>
                <a:buChar char="•"/>
                <a:defRPr/>
              </a:pPr>
              <a:r>
                <a:rPr lang="en-CA" sz="1200" dirty="0" smtClean="0">
                  <a:solidFill>
                    <a:srgbClr val="333333"/>
                  </a:solidFill>
                </a:rPr>
                <a:t>Formally </a:t>
              </a:r>
              <a:r>
                <a:rPr lang="en-CA" sz="1200" dirty="0">
                  <a:solidFill>
                    <a:srgbClr val="333333"/>
                  </a:solidFill>
                </a:rPr>
                <a:t>a</a:t>
              </a:r>
              <a:r>
                <a:rPr lang="en-CA" sz="1200" dirty="0" smtClean="0">
                  <a:solidFill>
                    <a:srgbClr val="333333"/>
                  </a:solidFill>
                </a:rPr>
                <a:t>ssign risk categories along with likelihood, and impact values to each risk event to capture an initial risk score. Formal strategies were </a:t>
              </a:r>
              <a:r>
                <a:rPr lang="en-CA" sz="1200" b="1" dirty="0" smtClean="0">
                  <a:solidFill>
                    <a:srgbClr val="333333"/>
                  </a:solidFill>
                </a:rPr>
                <a:t>59% better in assessing risk </a:t>
              </a:r>
              <a:r>
                <a:rPr lang="en-CA" sz="1200" dirty="0" smtClean="0">
                  <a:solidFill>
                    <a:srgbClr val="333333"/>
                  </a:solidFill>
                </a:rPr>
                <a:t>than ad-hoc approaches.</a:t>
              </a:r>
            </a:p>
            <a:p>
              <a:pPr marL="174625" indent="-174625" algn="l" eaLnBrk="0" fontAlgn="base" hangingPunct="0">
                <a:spcAft>
                  <a:spcPct val="0"/>
                </a:spcAft>
                <a:buClr>
                  <a:srgbClr val="333333"/>
                </a:buClr>
                <a:buSzPct val="120000"/>
                <a:buFont typeface="Arial" pitchFamily="34" charset="0"/>
                <a:buChar char="•"/>
                <a:defRPr/>
              </a:pPr>
              <a:r>
                <a:rPr lang="en-CA" sz="1200" dirty="0" smtClean="0">
                  <a:solidFill>
                    <a:srgbClr val="333333"/>
                  </a:solidFill>
                </a:rPr>
                <a:t>IT should do the majority of the risk assessment effort. Ask the business to simply verify initial risk scores, likelihood, and impact values. Organizations who had business involvement were </a:t>
              </a:r>
              <a:r>
                <a:rPr lang="en-CA" sz="1200" b="1" dirty="0" smtClean="0">
                  <a:solidFill>
                    <a:srgbClr val="333333"/>
                  </a:solidFill>
                </a:rPr>
                <a:t>143% better in assessing risk </a:t>
              </a:r>
              <a:r>
                <a:rPr lang="en-CA" sz="1200" dirty="0" smtClean="0">
                  <a:solidFill>
                    <a:srgbClr val="333333"/>
                  </a:solidFill>
                </a:rPr>
                <a:t>than those without it.</a:t>
              </a:r>
              <a:endParaRPr lang="en-CA" sz="1200" dirty="0">
                <a:solidFill>
                  <a:srgbClr val="333333"/>
                </a:solidFill>
              </a:endParaRPr>
            </a:p>
          </p:txBody>
        </p:sp>
      </p:grpSp>
      <p:grpSp>
        <p:nvGrpSpPr>
          <p:cNvPr id="10" name="Group 41"/>
          <p:cNvGrpSpPr/>
          <p:nvPr>
            <p:custDataLst>
              <p:tags r:id="rId9"/>
            </p:custDataLst>
          </p:nvPr>
        </p:nvGrpSpPr>
        <p:grpSpPr>
          <a:xfrm>
            <a:off x="251520" y="4341161"/>
            <a:ext cx="8574899" cy="960047"/>
            <a:chOff x="251520" y="4077072"/>
            <a:chExt cx="8574899" cy="960047"/>
          </a:xfrm>
        </p:grpSpPr>
        <p:sp>
          <p:nvSpPr>
            <p:cNvPr id="35" name="Rounded Rectangle 34"/>
            <p:cNvSpPr/>
            <p:nvPr/>
          </p:nvSpPr>
          <p:spPr>
            <a:xfrm>
              <a:off x="251520" y="4077072"/>
              <a:ext cx="4795375" cy="2316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r>
                <a:rPr lang="en-CA" sz="1200" b="1" dirty="0">
                  <a:solidFill>
                    <a:srgbClr val="333333"/>
                  </a:solidFill>
                </a:rPr>
                <a:t>Mitigate Risk</a:t>
              </a:r>
            </a:p>
          </p:txBody>
        </p:sp>
        <p:sp>
          <p:nvSpPr>
            <p:cNvPr id="36" name="Text Placeholder 2"/>
            <p:cNvSpPr txBox="1">
              <a:spLocks/>
            </p:cNvSpPr>
            <p:nvPr/>
          </p:nvSpPr>
          <p:spPr bwMode="auto">
            <a:xfrm>
              <a:off x="251520" y="4308746"/>
              <a:ext cx="8574899" cy="72837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174625" indent="-174625" algn="l" eaLnBrk="0" fontAlgn="base" hangingPunct="0">
                <a:spcAft>
                  <a:spcPct val="0"/>
                </a:spcAft>
                <a:buClr>
                  <a:srgbClr val="333333"/>
                </a:buClr>
                <a:buSzPct val="120000"/>
                <a:buFont typeface="Arial" pitchFamily="34" charset="0"/>
                <a:buChar char="•"/>
                <a:defRPr/>
              </a:pPr>
              <a:r>
                <a:rPr lang="en-CA" sz="1200" dirty="0" smtClean="0">
                  <a:solidFill>
                    <a:srgbClr val="333333"/>
                  </a:solidFill>
                </a:rPr>
                <a:t>Identify contributing and mitigating factors, mitigation effort, and residual risk for each risk event before taking action, and assigning risk accountability. Formal strategies were </a:t>
              </a:r>
              <a:r>
                <a:rPr lang="en-CA" sz="1200" b="1" dirty="0" smtClean="0">
                  <a:solidFill>
                    <a:srgbClr val="333333"/>
                  </a:solidFill>
                </a:rPr>
                <a:t>67% better in mitigating risk </a:t>
              </a:r>
              <a:r>
                <a:rPr lang="en-CA" sz="1200" dirty="0" smtClean="0">
                  <a:solidFill>
                    <a:srgbClr val="333333"/>
                  </a:solidFill>
                </a:rPr>
                <a:t>than ad-hoc approaches.</a:t>
              </a:r>
            </a:p>
            <a:p>
              <a:pPr marL="174625" indent="-174625" algn="l" eaLnBrk="0" fontAlgn="base" hangingPunct="0">
                <a:spcAft>
                  <a:spcPct val="0"/>
                </a:spcAft>
                <a:buClr>
                  <a:srgbClr val="333333"/>
                </a:buClr>
                <a:buSzPct val="120000"/>
                <a:buFont typeface="Arial" pitchFamily="34" charset="0"/>
                <a:buChar char="•"/>
                <a:defRPr/>
              </a:pPr>
              <a:r>
                <a:rPr lang="en-CA" sz="1200" dirty="0" smtClean="0">
                  <a:solidFill>
                    <a:srgbClr val="333333"/>
                  </a:solidFill>
                </a:rPr>
                <a:t>Invite C-level business management to sit on the RMSC, and ensure the business understands its accountability in mitigation plans. Organizations who had business involvement were </a:t>
              </a:r>
              <a:r>
                <a:rPr lang="en-CA" sz="1200" b="1" dirty="0" smtClean="0">
                  <a:solidFill>
                    <a:srgbClr val="333333"/>
                  </a:solidFill>
                </a:rPr>
                <a:t>98% better in mitigating risk </a:t>
              </a:r>
              <a:r>
                <a:rPr lang="en-CA" sz="1200" dirty="0" smtClean="0">
                  <a:solidFill>
                    <a:srgbClr val="333333"/>
                  </a:solidFill>
                </a:rPr>
                <a:t>than those without it.</a:t>
              </a:r>
              <a:endParaRPr lang="en-CA" sz="1200" dirty="0">
                <a:solidFill>
                  <a:srgbClr val="333333"/>
                </a:solidFill>
              </a:endParaRPr>
            </a:p>
          </p:txBody>
        </p:sp>
      </p:grpSp>
    </p:spTree>
    <p:extLst>
      <p:ext uri="{BB962C8B-B14F-4D97-AF65-F5344CB8AC3E}">
        <p14:creationId xmlns:p14="http://schemas.microsoft.com/office/powerpoint/2010/main" val="17327348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936104"/>
          </a:xfrm>
        </p:spPr>
        <p:txBody>
          <a:bodyPr/>
          <a:lstStyle/>
          <a:p>
            <a:r>
              <a:rPr lang="en-CA" sz="1700" dirty="0" smtClean="0"/>
              <a:t>Formal risk management strategies add value beyond simply mitigating risk, but IT must prove this value to the business to gain their buy-in, and involvement.</a:t>
            </a:r>
            <a:endParaRPr lang="en-CA" sz="1700"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507592"/>
            <a:ext cx="4034665" cy="3513695"/>
          </a:xfrm>
        </p:spPr>
        <p:txBody>
          <a:bodyPr/>
          <a:lstStyle/>
          <a:p>
            <a:r>
              <a:rPr lang="en-CA" dirty="0" smtClean="0"/>
              <a:t> CIOs,  IT Managers</a:t>
            </a:r>
          </a:p>
          <a:p>
            <a:endParaRPr lang="en-CA" dirty="0" smtClean="0"/>
          </a:p>
          <a:p>
            <a:r>
              <a:rPr lang="en-CA" dirty="0" smtClean="0"/>
              <a:t>C-level Executives, Project Managers</a:t>
            </a:r>
          </a:p>
          <a:p>
            <a:endParaRPr lang="en-CA" dirty="0" smtClean="0"/>
          </a:p>
          <a:p>
            <a:r>
              <a:rPr lang="en-CA" dirty="0" smtClean="0"/>
              <a:t> IT departments that want their organization to leverage risk management practices as part of their day-to-day operations. </a:t>
            </a:r>
          </a:p>
          <a:p>
            <a:endParaRPr lang="en-CA" dirty="0" smtClean="0"/>
          </a:p>
          <a:p>
            <a:pPr marL="180975" indent="-180975"/>
            <a:r>
              <a:rPr lang="en-CA" dirty="0" smtClean="0"/>
              <a:t> IT departments that are looking to formally manage risk rather than using ad-hoc risk management approaches.</a:t>
            </a:r>
          </a:p>
        </p:txBody>
      </p:sp>
      <p:sp>
        <p:nvSpPr>
          <p:cNvPr id="12" name="Text Placeholder 11"/>
          <p:cNvSpPr>
            <a:spLocks noGrp="1"/>
          </p:cNvSpPr>
          <p:nvPr>
            <p:ph type="body" sz="quarter" idx="23"/>
          </p:nvPr>
        </p:nvSpPr>
        <p:spPr>
          <a:xfrm>
            <a:off x="4860032" y="2507592"/>
            <a:ext cx="4032448" cy="3261667"/>
          </a:xfrm>
        </p:spPr>
        <p:txBody>
          <a:bodyPr/>
          <a:lstStyle/>
          <a:p>
            <a:r>
              <a:rPr lang="en-CA" dirty="0" smtClean="0"/>
              <a:t> Let the business know what IT is doing to proactively manage risk through a formalized risk management strategy.</a:t>
            </a:r>
          </a:p>
          <a:p>
            <a:endParaRPr lang="en-CA" dirty="0" smtClean="0"/>
          </a:p>
          <a:p>
            <a:r>
              <a:rPr lang="en-CA" dirty="0" smtClean="0"/>
              <a:t> Get what you need from business executives, department heads, and staff when identifying, assessing, and mitigating risk.</a:t>
            </a:r>
          </a:p>
          <a:p>
            <a:endParaRPr lang="en-CA" dirty="0" smtClean="0"/>
          </a:p>
          <a:p>
            <a:r>
              <a:rPr lang="en-CA" dirty="0" smtClean="0"/>
              <a:t> Understand scenario-based risk management, its steps, and how to best communicate to business stakeholders.</a:t>
            </a:r>
            <a:endParaRPr lang="en-CA" dirty="0"/>
          </a:p>
        </p:txBody>
      </p:sp>
      <p:sp>
        <p:nvSpPr>
          <p:cNvPr id="8" name="TextBox 7"/>
          <p:cNvSpPr txBox="1"/>
          <p:nvPr/>
        </p:nvSpPr>
        <p:spPr>
          <a:xfrm>
            <a:off x="249302" y="2168860"/>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168860"/>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flipH="1">
            <a:off x="4572006" y="2507594"/>
            <a:ext cx="1" cy="3045644"/>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23502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grpSp>
        <p:nvGrpSpPr>
          <p:cNvPr id="6" name="Group 19"/>
          <p:cNvGrpSpPr/>
          <p:nvPr/>
        </p:nvGrpSpPr>
        <p:grpSpPr>
          <a:xfrm>
            <a:off x="262097" y="3057453"/>
            <a:ext cx="8522371" cy="1701217"/>
            <a:chOff x="257174" y="2327265"/>
            <a:chExt cx="11430052" cy="1701217"/>
          </a:xfrm>
        </p:grpSpPr>
        <p:sp>
          <p:nvSpPr>
            <p:cNvPr id="14" name="Rounded Rectangle 13"/>
            <p:cNvSpPr/>
            <p:nvPr/>
          </p:nvSpPr>
          <p:spPr>
            <a:xfrm>
              <a:off x="257174" y="2327265"/>
              <a:ext cx="11430052"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333333"/>
                  </a:solidFill>
                </a:rPr>
                <a:t>Involve relevant business stakeholders with a formal risk management strategy</a:t>
              </a:r>
              <a:endParaRPr lang="en-CA" sz="1400" b="1" dirty="0">
                <a:solidFill>
                  <a:srgbClr val="333333"/>
                </a:solidFill>
              </a:endParaRPr>
            </a:p>
          </p:txBody>
        </p:sp>
        <p:sp>
          <p:nvSpPr>
            <p:cNvPr id="15" name="Text Placeholder 2"/>
            <p:cNvSpPr txBox="1">
              <a:spLocks/>
            </p:cNvSpPr>
            <p:nvPr/>
          </p:nvSpPr>
          <p:spPr bwMode="auto">
            <a:xfrm>
              <a:off x="257174" y="2678810"/>
              <a:ext cx="8387913" cy="13496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174625" indent="-174625" algn="l" eaLnBrk="0" hangingPunct="0">
                <a:spcBef>
                  <a:spcPts val="500"/>
                </a:spcBef>
                <a:buClr>
                  <a:srgbClr val="333333"/>
                </a:buClr>
                <a:buSzPct val="120000"/>
                <a:buFont typeface="Arial" pitchFamily="34" charset="0"/>
                <a:buChar char="•"/>
                <a:defRPr/>
              </a:pPr>
              <a:r>
                <a:rPr lang="en-CA" sz="1200" dirty="0" smtClean="0">
                  <a:solidFill>
                    <a:srgbClr val="333333"/>
                  </a:solidFill>
                </a:rPr>
                <a:t>Business involvement in risk management can sometimes be difficult to achieve if executives view it as an added cost, or a barrier hindering business processes.</a:t>
              </a:r>
            </a:p>
            <a:p>
              <a:pPr marL="174625" indent="-174625" algn="l" eaLnBrk="0" hangingPunct="0">
                <a:spcBef>
                  <a:spcPts val="500"/>
                </a:spcBef>
                <a:buClr>
                  <a:srgbClr val="333333"/>
                </a:buClr>
                <a:buSzPct val="120000"/>
                <a:buFont typeface="Arial" pitchFamily="34" charset="0"/>
                <a:buChar char="•"/>
                <a:defRPr/>
              </a:pPr>
              <a:r>
                <a:rPr lang="en-CA" sz="1200" dirty="0" smtClean="0">
                  <a:solidFill>
                    <a:srgbClr val="333333"/>
                  </a:solidFill>
                </a:rPr>
                <a:t>It is up to IT to prove the value of risk management to the business, and gain their involvement. </a:t>
              </a:r>
              <a:r>
                <a:rPr lang="en-US" sz="1200" dirty="0" smtClean="0">
                  <a:solidFill>
                    <a:srgbClr val="333333"/>
                  </a:solidFill>
                </a:rPr>
                <a:t>Organizations with a formal risk management strategy were approximately </a:t>
              </a:r>
              <a:r>
                <a:rPr lang="en-US" sz="1200" b="1" dirty="0" smtClean="0">
                  <a:solidFill>
                    <a:srgbClr val="333333"/>
                  </a:solidFill>
                </a:rPr>
                <a:t>80% more successful </a:t>
              </a:r>
              <a:r>
                <a:rPr lang="en-US" sz="1200" dirty="0" smtClean="0">
                  <a:solidFill>
                    <a:srgbClr val="333333"/>
                  </a:solidFill>
                </a:rPr>
                <a:t>in obtaining involvement from business stakeholders.</a:t>
              </a:r>
              <a:endParaRPr lang="en-US" sz="1200" dirty="0">
                <a:solidFill>
                  <a:srgbClr val="333333"/>
                </a:solidFill>
              </a:endParaRPr>
            </a:p>
          </p:txBody>
        </p:sp>
      </p:grpSp>
      <p:grpSp>
        <p:nvGrpSpPr>
          <p:cNvPr id="10" name="Group 23"/>
          <p:cNvGrpSpPr/>
          <p:nvPr/>
        </p:nvGrpSpPr>
        <p:grpSpPr>
          <a:xfrm>
            <a:off x="262098" y="1232755"/>
            <a:ext cx="8558373" cy="1795245"/>
            <a:chOff x="237270" y="1143000"/>
            <a:chExt cx="6563788" cy="1795245"/>
          </a:xfrm>
        </p:grpSpPr>
        <p:grpSp>
          <p:nvGrpSpPr>
            <p:cNvPr id="13" name="Group 25"/>
            <p:cNvGrpSpPr/>
            <p:nvPr/>
          </p:nvGrpSpPr>
          <p:grpSpPr>
            <a:xfrm>
              <a:off x="237270" y="1143000"/>
              <a:ext cx="6563788" cy="1059075"/>
              <a:chOff x="249302" y="1165194"/>
              <a:chExt cx="11560232" cy="1059075"/>
            </a:xfrm>
          </p:grpSpPr>
          <p:sp>
            <p:nvSpPr>
              <p:cNvPr id="19" name="Rounded Rectangle 18"/>
              <p:cNvSpPr/>
              <p:nvPr/>
            </p:nvSpPr>
            <p:spPr>
              <a:xfrm>
                <a:off x="269201" y="1165194"/>
                <a:ext cx="11540333"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333333"/>
                    </a:solidFill>
                  </a:rPr>
                  <a:t>Maximize risk management success with a formal risk management strategy</a:t>
                </a:r>
                <a:endParaRPr lang="en-CA" sz="1400" b="1" dirty="0">
                  <a:solidFill>
                    <a:srgbClr val="333333"/>
                  </a:solidFill>
                </a:endParaRPr>
              </a:p>
            </p:txBody>
          </p:sp>
          <p:sp>
            <p:nvSpPr>
              <p:cNvPr id="20" name="Text Placeholder 2"/>
              <p:cNvSpPr txBox="1">
                <a:spLocks/>
              </p:cNvSpPr>
              <p:nvPr/>
            </p:nvSpPr>
            <p:spPr bwMode="auto">
              <a:xfrm>
                <a:off x="249302" y="1536669"/>
                <a:ext cx="8627997" cy="687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eaLnBrk="0" hangingPunct="0">
                  <a:spcBef>
                    <a:spcPts val="500"/>
                  </a:spcBef>
                  <a:buClr>
                    <a:srgbClr val="333333"/>
                  </a:buClr>
                  <a:buSzPct val="120000"/>
                  <a:buFont typeface="Arial" pitchFamily="34" charset="0"/>
                  <a:buChar char="•"/>
                  <a:defRPr/>
                </a:pPr>
                <a:endParaRPr lang="en-CA" sz="1200" dirty="0">
                  <a:solidFill>
                    <a:srgbClr val="333333"/>
                  </a:solidFill>
                </a:endParaRPr>
              </a:p>
            </p:txBody>
          </p:sp>
        </p:grpSp>
        <p:sp>
          <p:nvSpPr>
            <p:cNvPr id="18" name="Text Placeholder 2"/>
            <p:cNvSpPr txBox="1">
              <a:spLocks/>
            </p:cNvSpPr>
            <p:nvPr/>
          </p:nvSpPr>
          <p:spPr bwMode="auto">
            <a:xfrm>
              <a:off x="261775" y="1458896"/>
              <a:ext cx="4772049" cy="147934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174625" indent="-174625" algn="l" eaLnBrk="0" hangingPunct="0">
                <a:spcBef>
                  <a:spcPts val="500"/>
                </a:spcBef>
                <a:buClr>
                  <a:srgbClr val="333333"/>
                </a:buClr>
                <a:buSzPct val="120000"/>
                <a:buFont typeface="Arial" pitchFamily="34" charset="0"/>
                <a:buChar char="•"/>
                <a:defRPr/>
              </a:pPr>
              <a:r>
                <a:rPr lang="en-US" sz="1200" b="1" dirty="0" smtClean="0">
                  <a:solidFill>
                    <a:srgbClr val="333333"/>
                  </a:solidFill>
                </a:rPr>
                <a:t>Risk management success is defined by seven key benefits: </a:t>
              </a:r>
              <a:r>
                <a:rPr lang="en-US" sz="1200" dirty="0" smtClean="0">
                  <a:solidFill>
                    <a:srgbClr val="333333"/>
                  </a:solidFill>
                </a:rPr>
                <a:t>project completion, managing IT-related business risks, delivering IT services in line with business requirements, securing data, communicating cost and benefits of risks, supporting business compliance, and complying with external laws and regulations.</a:t>
              </a:r>
            </a:p>
            <a:p>
              <a:pPr marL="174625" indent="-174625" algn="l" eaLnBrk="0" hangingPunct="0">
                <a:spcBef>
                  <a:spcPts val="500"/>
                </a:spcBef>
                <a:buClr>
                  <a:srgbClr val="333333"/>
                </a:buClr>
                <a:buSzPct val="120000"/>
                <a:buFont typeface="Arial" pitchFamily="34" charset="0"/>
                <a:buChar char="•"/>
                <a:defRPr/>
              </a:pPr>
              <a:r>
                <a:rPr lang="en-US" sz="1200" dirty="0" smtClean="0">
                  <a:solidFill>
                    <a:srgbClr val="333333"/>
                  </a:solidFill>
                </a:rPr>
                <a:t>Organizations who implemented a formal risk management strategy had approximately </a:t>
              </a:r>
              <a:r>
                <a:rPr lang="en-US" sz="1200" b="1" dirty="0" smtClean="0">
                  <a:solidFill>
                    <a:srgbClr val="333333"/>
                  </a:solidFill>
                </a:rPr>
                <a:t>53% more risk management success </a:t>
              </a:r>
              <a:r>
                <a:rPr lang="en-US" sz="1200" dirty="0" smtClean="0">
                  <a:solidFill>
                    <a:srgbClr val="333333"/>
                  </a:solidFill>
                </a:rPr>
                <a:t>than those who used an ad-hoc approach.</a:t>
              </a:r>
            </a:p>
          </p:txBody>
        </p:sp>
      </p:grpSp>
      <p:graphicFrame>
        <p:nvGraphicFramePr>
          <p:cNvPr id="24" name="Chart 23"/>
          <p:cNvGraphicFramePr/>
          <p:nvPr/>
        </p:nvGraphicFramePr>
        <p:xfrm>
          <a:off x="6336704" y="3392996"/>
          <a:ext cx="2520280" cy="14761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4"/>
          <p:cNvGraphicFramePr/>
          <p:nvPr/>
        </p:nvGraphicFramePr>
        <p:xfrm>
          <a:off x="6336704" y="5115092"/>
          <a:ext cx="2663788" cy="133904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Chart 25"/>
          <p:cNvGraphicFramePr/>
          <p:nvPr/>
        </p:nvGraphicFramePr>
        <p:xfrm>
          <a:off x="6336704" y="1687179"/>
          <a:ext cx="2520280" cy="1368117"/>
        </p:xfrm>
        <a:graphic>
          <a:graphicData uri="http://schemas.openxmlformats.org/drawingml/2006/chart">
            <c:chart xmlns:c="http://schemas.openxmlformats.org/drawingml/2006/chart" xmlns:r="http://schemas.openxmlformats.org/officeDocument/2006/relationships" r:id="rId5"/>
          </a:graphicData>
        </a:graphic>
      </p:graphicFrame>
      <p:grpSp>
        <p:nvGrpSpPr>
          <p:cNvPr id="28" name="Group 19"/>
          <p:cNvGrpSpPr/>
          <p:nvPr/>
        </p:nvGrpSpPr>
        <p:grpSpPr>
          <a:xfrm>
            <a:off x="264220" y="4788123"/>
            <a:ext cx="8522371" cy="1701217"/>
            <a:chOff x="257174" y="2327265"/>
            <a:chExt cx="11430052" cy="1701217"/>
          </a:xfrm>
        </p:grpSpPr>
        <p:sp>
          <p:nvSpPr>
            <p:cNvPr id="29" name="Rounded Rectangle 28"/>
            <p:cNvSpPr/>
            <p:nvPr/>
          </p:nvSpPr>
          <p:spPr>
            <a:xfrm>
              <a:off x="257174" y="2327265"/>
              <a:ext cx="11430052"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333333"/>
                  </a:solidFill>
                </a:rPr>
                <a:t>Boost risk management success with business involvement</a:t>
              </a:r>
              <a:endParaRPr lang="en-CA" sz="1400" b="1" dirty="0">
                <a:solidFill>
                  <a:srgbClr val="333333"/>
                </a:solidFill>
              </a:endParaRPr>
            </a:p>
          </p:txBody>
        </p:sp>
        <p:sp>
          <p:nvSpPr>
            <p:cNvPr id="30" name="Text Placeholder 2"/>
            <p:cNvSpPr txBox="1">
              <a:spLocks/>
            </p:cNvSpPr>
            <p:nvPr/>
          </p:nvSpPr>
          <p:spPr bwMode="auto">
            <a:xfrm>
              <a:off x="257174" y="2678810"/>
              <a:ext cx="8385066" cy="13496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174625" indent="-174625" algn="l" eaLnBrk="0" hangingPunct="0">
                <a:spcBef>
                  <a:spcPts val="500"/>
                </a:spcBef>
                <a:buClr>
                  <a:srgbClr val="333333"/>
                </a:buClr>
                <a:buSzPct val="120000"/>
                <a:buFont typeface="Arial" pitchFamily="34" charset="0"/>
                <a:buChar char="•"/>
                <a:defRPr/>
              </a:pPr>
              <a:r>
                <a:rPr lang="en-CA" sz="1200" dirty="0" smtClean="0">
                  <a:solidFill>
                    <a:srgbClr val="333333"/>
                  </a:solidFill>
                </a:rPr>
                <a:t>Business involvement adds value during the risk identification, assessment, and mitigation phases. When the business is involved, IT gains perspective and insights that it otherwise wouldn’t be able to obtain on their own.</a:t>
              </a:r>
            </a:p>
            <a:p>
              <a:pPr marL="174625" indent="-174625" algn="l" eaLnBrk="0" hangingPunct="0">
                <a:spcBef>
                  <a:spcPts val="500"/>
                </a:spcBef>
                <a:buClr>
                  <a:srgbClr val="333333"/>
                </a:buClr>
                <a:buSzPct val="120000"/>
                <a:buFont typeface="Arial" pitchFamily="34" charset="0"/>
                <a:buChar char="•"/>
                <a:defRPr/>
              </a:pPr>
              <a:r>
                <a:rPr lang="en-CA" sz="1200" dirty="0" smtClean="0">
                  <a:solidFill>
                    <a:srgbClr val="333333"/>
                  </a:solidFill>
                </a:rPr>
                <a:t>Organizations successful in gaining business involvement had approximately </a:t>
              </a:r>
              <a:r>
                <a:rPr lang="en-CA" sz="1200" b="1" dirty="0" smtClean="0">
                  <a:solidFill>
                    <a:srgbClr val="333333"/>
                  </a:solidFill>
                </a:rPr>
                <a:t>59% more risk management success </a:t>
              </a:r>
              <a:r>
                <a:rPr lang="en-CA" sz="1200" dirty="0" smtClean="0">
                  <a:solidFill>
                    <a:srgbClr val="333333"/>
                  </a:solidFill>
                </a:rPr>
                <a:t>than organizations without business involvement.</a:t>
              </a:r>
              <a:endParaRPr lang="en-US" sz="1200" dirty="0">
                <a:solidFill>
                  <a:srgbClr val="333333"/>
                </a:solidFill>
              </a:endParaRPr>
            </a:p>
          </p:txBody>
        </p:sp>
      </p:grpSp>
    </p:spTree>
    <p:extLst>
      <p:ext uri="{BB962C8B-B14F-4D97-AF65-F5344CB8AC3E}">
        <p14:creationId xmlns:p14="http://schemas.microsoft.com/office/powerpoint/2010/main" val="33208936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top reacting, and formally manage risk to increase </a:t>
            </a:r>
            <a:r>
              <a:rPr lang="en-US" dirty="0" smtClean="0"/>
              <a:t>your risk </a:t>
            </a:r>
            <a:r>
              <a:rPr lang="en-US" dirty="0" smtClean="0"/>
              <a:t>management success by 53%</a:t>
            </a:r>
            <a:endParaRPr lang="en-CA" dirty="0"/>
          </a:p>
        </p:txBody>
      </p:sp>
      <p:sp>
        <p:nvSpPr>
          <p:cNvPr id="3" name="Text Placeholder 2"/>
          <p:cNvSpPr>
            <a:spLocks noGrp="1"/>
          </p:cNvSpPr>
          <p:nvPr>
            <p:ph type="body" sz="quarter" idx="16"/>
            <p:custDataLst>
              <p:tags r:id="rId4"/>
            </p:custDataLst>
          </p:nvPr>
        </p:nvSpPr>
        <p:spPr>
          <a:xfrm>
            <a:off x="249303" y="1844824"/>
            <a:ext cx="5366814" cy="3168351"/>
          </a:xfrm>
        </p:spPr>
        <p:txBody>
          <a:bodyPr/>
          <a:lstStyle/>
          <a:p>
            <a:pPr marL="0" indent="0">
              <a:buNone/>
            </a:pPr>
            <a:r>
              <a:rPr lang="en-CA" b="1" dirty="0" smtClean="0"/>
              <a:t>Risk management is an ongoing process that continuously evolves as the organization grows, and matures</a:t>
            </a:r>
            <a:r>
              <a:rPr lang="en-CA" dirty="0" smtClean="0"/>
              <a:t>. Managing risk isn’t solely preparing for security breaches, and creating disaster recovery plans. It should apply to every project, personnel group, data archive, vendor relationship, IT process, business operation, and technology. </a:t>
            </a:r>
          </a:p>
          <a:p>
            <a:pPr marL="0" indent="0">
              <a:buNone/>
            </a:pPr>
            <a:r>
              <a:rPr lang="en-CA" b="1" dirty="0" smtClean="0"/>
              <a:t>Managing risk uncovers IT, and business capabilities.</a:t>
            </a:r>
            <a:r>
              <a:rPr lang="en-CA" dirty="0" smtClean="0"/>
              <a:t> Formalizing risk management gives both IT, and the business a chance to review its assets, processes, procedures, and identify key areas of risk exposure. IT can then work with the business to fill in the gaps, improving overall business success.</a:t>
            </a:r>
            <a:br>
              <a:rPr lang="en-CA" dirty="0" smtClean="0"/>
            </a:br>
            <a:r>
              <a:rPr lang="en-CA" dirty="0" smtClean="0"/>
              <a:t/>
            </a:r>
            <a:br>
              <a:rPr lang="en-CA" dirty="0" smtClean="0"/>
            </a:br>
            <a:r>
              <a:rPr lang="en-CA" b="1" dirty="0" smtClean="0"/>
              <a:t>An Info-Tech survey defined Ad-hoc Approach and Formal Strategy as</a:t>
            </a:r>
            <a:r>
              <a:rPr lang="en-CA" dirty="0" smtClean="0"/>
              <a:t>:</a:t>
            </a:r>
          </a:p>
          <a:p>
            <a:pPr marL="0" indent="0">
              <a:spcBef>
                <a:spcPts val="0"/>
              </a:spcBef>
              <a:buNone/>
            </a:pPr>
            <a:r>
              <a:rPr lang="en-CA" b="1" dirty="0" smtClean="0">
                <a:solidFill>
                  <a:srgbClr val="333333"/>
                </a:solidFill>
              </a:rPr>
              <a:t>Ad-hoc Approach</a:t>
            </a:r>
            <a:r>
              <a:rPr lang="en-CA" dirty="0" smtClean="0">
                <a:solidFill>
                  <a:srgbClr val="333333"/>
                </a:solidFill>
              </a:rPr>
              <a:t>: Undocumented, and unmanaged means of responding to  risk. Respondents selected “We don`t do this at all”, “Ad-hoc approach; sometimes applied”, or “Ad hoc approach; usually applied”.</a:t>
            </a:r>
            <a:endParaRPr lang="en-CA" b="1" dirty="0" smtClean="0">
              <a:solidFill>
                <a:srgbClr val="333333"/>
              </a:solidFill>
            </a:endParaRPr>
          </a:p>
          <a:p>
            <a:pPr marL="0" indent="0">
              <a:spcBef>
                <a:spcPts val="0"/>
              </a:spcBef>
              <a:buNone/>
            </a:pPr>
            <a:r>
              <a:rPr lang="en-CA" b="1" dirty="0" smtClean="0">
                <a:solidFill>
                  <a:srgbClr val="333333"/>
                </a:solidFill>
              </a:rPr>
              <a:t>Formal Strategy</a:t>
            </a:r>
            <a:r>
              <a:rPr lang="en-CA" dirty="0" smtClean="0">
                <a:solidFill>
                  <a:srgbClr val="333333"/>
                </a:solidFill>
              </a:rPr>
              <a:t>: Documented, and managed risk management process. Respondent selected “Standard process applied” or “Documented and managed process applied”.</a:t>
            </a:r>
          </a:p>
          <a:p>
            <a:pPr marL="0" indent="0">
              <a:buNone/>
            </a:pPr>
            <a:endParaRPr lang="en-CA" dirty="0" smtClean="0"/>
          </a:p>
          <a:p>
            <a:endParaRPr lang="en-CA" dirty="0"/>
          </a:p>
        </p:txBody>
      </p:sp>
      <p:sp>
        <p:nvSpPr>
          <p:cNvPr id="4" name="Text Placeholder 10"/>
          <p:cNvSpPr txBox="1">
            <a:spLocks/>
          </p:cNvSpPr>
          <p:nvPr>
            <p:custDataLst>
              <p:tags r:id="rId5"/>
            </p:custDataLst>
          </p:nvPr>
        </p:nvSpPr>
        <p:spPr>
          <a:xfrm>
            <a:off x="257176" y="1232756"/>
            <a:ext cx="8620124" cy="648072"/>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kumimoji="0" lang="en-CA" b="1" i="0" u="none" strike="noStrike" kern="1200" cap="none" spc="0" normalizeH="0" baseline="0" noProof="0" dirty="0" smtClean="0">
                <a:ln>
                  <a:noFill/>
                </a:ln>
                <a:solidFill>
                  <a:schemeClr val="tx1"/>
                </a:solidFill>
                <a:effectLst/>
                <a:uLnTx/>
                <a:uFillTx/>
                <a:latin typeface="+mn-lt"/>
                <a:ea typeface="+mn-ea"/>
                <a:cs typeface="+mn-cs"/>
              </a:rPr>
              <a:t>Organizations</a:t>
            </a:r>
            <a:r>
              <a:rPr kumimoji="0" lang="en-CA" b="1" i="0" u="none" strike="noStrike" kern="1200" cap="none" spc="0" normalizeH="0" noProof="0" dirty="0" smtClean="0">
                <a:ln>
                  <a:noFill/>
                </a:ln>
                <a:solidFill>
                  <a:schemeClr val="tx1"/>
                </a:solidFill>
                <a:effectLst/>
                <a:uLnTx/>
                <a:uFillTx/>
                <a:latin typeface="+mn-lt"/>
                <a:ea typeface="+mn-ea"/>
                <a:cs typeface="+mn-cs"/>
              </a:rPr>
              <a:t> with formal risk management strategies </a:t>
            </a:r>
            <a:r>
              <a:rPr lang="en-CA" b="1" dirty="0" smtClean="0">
                <a:latin typeface="+mn-lt"/>
              </a:rPr>
              <a:t>had 53%</a:t>
            </a:r>
            <a:r>
              <a:rPr kumimoji="0" lang="en-CA" b="1" i="0" u="none" strike="noStrike" kern="1200" cap="none" spc="0" normalizeH="0" noProof="0" dirty="0" smtClean="0">
                <a:ln>
                  <a:noFill/>
                </a:ln>
                <a:solidFill>
                  <a:schemeClr val="tx1"/>
                </a:solidFill>
                <a:effectLst/>
                <a:uLnTx/>
                <a:uFillTx/>
                <a:latin typeface="+mn-lt"/>
                <a:ea typeface="+mn-ea"/>
                <a:cs typeface="+mn-cs"/>
              </a:rPr>
              <a:t> more risk management success than organizations </a:t>
            </a:r>
            <a:r>
              <a:rPr lang="en-CA" b="1" dirty="0" smtClean="0">
                <a:latin typeface="+mn-lt"/>
              </a:rPr>
              <a:t>that used </a:t>
            </a:r>
            <a:r>
              <a:rPr kumimoji="0" lang="en-CA" b="1" i="0" u="none" strike="noStrike" kern="1200" cap="none" spc="0" normalizeH="0" noProof="0" dirty="0" smtClean="0">
                <a:ln>
                  <a:noFill/>
                </a:ln>
                <a:solidFill>
                  <a:schemeClr val="tx1"/>
                </a:solidFill>
                <a:effectLst/>
                <a:uLnTx/>
                <a:uFillTx/>
                <a:latin typeface="+mn-lt"/>
                <a:ea typeface="+mn-ea"/>
                <a:cs typeface="+mn-cs"/>
              </a:rPr>
              <a:t>an ad-hoc approach.</a:t>
            </a:r>
            <a:endParaRPr kumimoji="0" lang="en-CA" b="1"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custDataLst>
              <p:tags r:id="rId6"/>
            </p:custDataLst>
          </p:nvPr>
        </p:nvSpPr>
        <p:spPr>
          <a:xfrm>
            <a:off x="266760" y="5194251"/>
            <a:ext cx="5349357" cy="1015663"/>
          </a:xfrm>
          <a:prstGeom prst="rect">
            <a:avLst/>
          </a:prstGeom>
          <a:noFill/>
        </p:spPr>
        <p:txBody>
          <a:bodyPr wrap="square" rtlCol="0">
            <a:spAutoFit/>
          </a:bodyPr>
          <a:lstStyle/>
          <a:p>
            <a:r>
              <a:rPr lang="en-CA" sz="1200" i="1" dirty="0" smtClean="0">
                <a:latin typeface="+mj-lt"/>
              </a:rPr>
              <a:t>Managing any business is all about managing risk. My major concern is where the business risks are not understood. When they are not understood there is a false sense of security, and no informed decisions. In fact, there is no management at all, just everyone hoping all goes well.</a:t>
            </a:r>
          </a:p>
          <a:p>
            <a:r>
              <a:rPr lang="en-CA" sz="1200" i="1" dirty="0" smtClean="0">
                <a:solidFill>
                  <a:srgbClr val="333333"/>
                </a:solidFill>
                <a:latin typeface="+mn-lt"/>
              </a:rPr>
              <a:t>- </a:t>
            </a:r>
            <a:r>
              <a:rPr lang="en-CA" sz="1000" dirty="0" smtClean="0">
                <a:solidFill>
                  <a:srgbClr val="333333"/>
                </a:solidFill>
                <a:latin typeface="+mn-lt"/>
              </a:rPr>
              <a:t>Phil Hayes, Infrastructure and Security Manager</a:t>
            </a:r>
            <a:endParaRPr lang="en-CA" sz="1000" dirty="0">
              <a:solidFill>
                <a:srgbClr val="333333"/>
              </a:solidFill>
              <a:latin typeface="+mn-lt"/>
            </a:endParaRPr>
          </a:p>
        </p:txBody>
      </p:sp>
      <p:pic>
        <p:nvPicPr>
          <p:cNvPr id="7" name="Picture 6" descr="quote2.wmf"/>
          <p:cNvPicPr>
            <a:picLocks noChangeAspect="1"/>
          </p:cNvPicPr>
          <p:nvPr>
            <p:custDataLst>
              <p:tags r:id="rId7"/>
            </p:custDataLst>
          </p:nvPr>
        </p:nvPicPr>
        <p:blipFill>
          <a:blip r:embed="rId20" cstate="print"/>
          <a:stretch>
            <a:fillRect/>
          </a:stretch>
        </p:blipFill>
        <p:spPr>
          <a:xfrm>
            <a:off x="4968044" y="5985284"/>
            <a:ext cx="179050" cy="127893"/>
          </a:xfrm>
          <a:prstGeom prst="rect">
            <a:avLst/>
          </a:prstGeom>
        </p:spPr>
      </p:pic>
      <p:sp>
        <p:nvSpPr>
          <p:cNvPr id="9" name="TextBox 8"/>
          <p:cNvSpPr txBox="1"/>
          <p:nvPr>
            <p:custDataLst>
              <p:tags r:id="rId8"/>
            </p:custDataLst>
          </p:nvPr>
        </p:nvSpPr>
        <p:spPr>
          <a:xfrm>
            <a:off x="5770487" y="6068325"/>
            <a:ext cx="3096040" cy="276999"/>
          </a:xfrm>
          <a:prstGeom prst="rect">
            <a:avLst/>
          </a:prstGeom>
          <a:noFill/>
        </p:spPr>
        <p:txBody>
          <a:bodyPr wrap="none" rtlCol="0">
            <a:spAutoFit/>
          </a:bodyPr>
          <a:lstStyle/>
          <a:p>
            <a:pPr algn="r"/>
            <a:r>
              <a:rPr lang="en-CA" sz="1200" dirty="0" smtClean="0"/>
              <a:t>Survey: Info-Tech Research Group, </a:t>
            </a:r>
            <a:r>
              <a:rPr lang="en-CA" sz="1200" i="1" dirty="0" smtClean="0"/>
              <a:t>N = 74</a:t>
            </a:r>
            <a:endParaRPr lang="en-CA" sz="1200" i="1" dirty="0"/>
          </a:p>
        </p:txBody>
      </p:sp>
      <p:sp>
        <p:nvSpPr>
          <p:cNvPr id="11" name="TextBox 10"/>
          <p:cNvSpPr txBox="1"/>
          <p:nvPr>
            <p:custDataLst>
              <p:tags r:id="rId9"/>
            </p:custDataLst>
          </p:nvPr>
        </p:nvSpPr>
        <p:spPr>
          <a:xfrm>
            <a:off x="5544108" y="1880828"/>
            <a:ext cx="3419872" cy="461665"/>
          </a:xfrm>
          <a:prstGeom prst="rect">
            <a:avLst/>
          </a:prstGeom>
          <a:noFill/>
        </p:spPr>
        <p:txBody>
          <a:bodyPr wrap="square" rtlCol="0">
            <a:spAutoFit/>
          </a:bodyPr>
          <a:lstStyle/>
          <a:p>
            <a:pPr fontAlgn="base">
              <a:spcBef>
                <a:spcPct val="0"/>
              </a:spcBef>
              <a:spcAft>
                <a:spcPct val="0"/>
              </a:spcAft>
            </a:pPr>
            <a:r>
              <a:rPr lang="en-US" sz="1200" b="1" dirty="0" smtClean="0">
                <a:solidFill>
                  <a:srgbClr val="333333"/>
                </a:solidFill>
              </a:rPr>
              <a:t>Risk Management Success: </a:t>
            </a:r>
          </a:p>
          <a:p>
            <a:pPr fontAlgn="base">
              <a:spcBef>
                <a:spcPct val="0"/>
              </a:spcBef>
              <a:spcAft>
                <a:spcPct val="0"/>
              </a:spcAft>
            </a:pPr>
            <a:r>
              <a:rPr lang="en-US" sz="1200" b="1" dirty="0" smtClean="0">
                <a:solidFill>
                  <a:srgbClr val="333333"/>
                </a:solidFill>
              </a:rPr>
              <a:t>Formal Strategy vs. Ad-hoc Approach</a:t>
            </a:r>
            <a:endParaRPr lang="en-US" sz="1200" b="1" dirty="0">
              <a:solidFill>
                <a:srgbClr val="333333"/>
              </a:solidFill>
            </a:endParaRPr>
          </a:p>
        </p:txBody>
      </p:sp>
      <p:graphicFrame>
        <p:nvGraphicFramePr>
          <p:cNvPr id="12" name="Chart 11"/>
          <p:cNvGraphicFramePr/>
          <p:nvPr>
            <p:custDataLst>
              <p:tags r:id="rId10"/>
            </p:custDataLst>
            <p:extLst>
              <p:ext uri="{D42A27DB-BD31-4B8C-83A1-F6EECF244321}">
                <p14:modId xmlns:p14="http://schemas.microsoft.com/office/powerpoint/2010/main" val="2779787280"/>
              </p:ext>
            </p:extLst>
          </p:nvPr>
        </p:nvGraphicFramePr>
        <p:xfrm>
          <a:off x="5683716" y="2477865"/>
          <a:ext cx="3240000" cy="3600000"/>
        </p:xfrm>
        <a:graphic>
          <a:graphicData uri="http://schemas.openxmlformats.org/drawingml/2006/chart">
            <c:chart xmlns:c="http://schemas.openxmlformats.org/drawingml/2006/chart" xmlns:r="http://schemas.openxmlformats.org/officeDocument/2006/relationships" r:id="rId21"/>
          </a:graphicData>
        </a:graphic>
      </p:graphicFrame>
      <p:pic>
        <p:nvPicPr>
          <p:cNvPr id="8" name="Picture 7" descr="quote1.wmf"/>
          <p:cNvPicPr>
            <a:picLocks noChangeAspect="1"/>
          </p:cNvPicPr>
          <p:nvPr>
            <p:custDataLst>
              <p:tags r:id="rId11"/>
            </p:custDataLst>
          </p:nvPr>
        </p:nvPicPr>
        <p:blipFill>
          <a:blip r:embed="rId22" cstate="print"/>
          <a:stretch>
            <a:fillRect/>
          </a:stretch>
        </p:blipFill>
        <p:spPr>
          <a:xfrm>
            <a:off x="251520" y="5353335"/>
            <a:ext cx="179050" cy="127893"/>
          </a:xfrm>
          <a:prstGeom prst="rect">
            <a:avLst/>
          </a:prstGeom>
        </p:spPr>
      </p:pic>
      <p:cxnSp>
        <p:nvCxnSpPr>
          <p:cNvPr id="16" name="Straight Connector 15"/>
          <p:cNvCxnSpPr/>
          <p:nvPr>
            <p:custDataLst>
              <p:tags r:id="rId12"/>
            </p:custDataLst>
          </p:nvPr>
        </p:nvCxnSpPr>
        <p:spPr>
          <a:xfrm flipV="1">
            <a:off x="7020272" y="2672916"/>
            <a:ext cx="0" cy="1188132"/>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3"/>
            </p:custDataLst>
          </p:nvPr>
        </p:nvCxnSpPr>
        <p:spPr>
          <a:xfrm>
            <a:off x="7020272" y="2672916"/>
            <a:ext cx="118813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4"/>
            </p:custDataLst>
          </p:nvPr>
        </p:nvCxnSpPr>
        <p:spPr>
          <a:xfrm>
            <a:off x="8213012" y="2672916"/>
            <a:ext cx="0" cy="252028"/>
          </a:xfrm>
          <a:prstGeom prst="line">
            <a:avLst/>
          </a:prstGeom>
        </p:spPr>
        <p:style>
          <a:lnRef idx="1">
            <a:schemeClr val="accent1"/>
          </a:lnRef>
          <a:fillRef idx="0">
            <a:schemeClr val="accent1"/>
          </a:fillRef>
          <a:effectRef idx="0">
            <a:schemeClr val="accent1"/>
          </a:effectRef>
          <a:fontRef idx="minor">
            <a:schemeClr val="tx1"/>
          </a:fontRef>
        </p:style>
      </p:cxnSp>
      <p:sp>
        <p:nvSpPr>
          <p:cNvPr id="21" name="Oval 20"/>
          <p:cNvSpPr/>
          <p:nvPr>
            <p:custDataLst>
              <p:tags r:id="rId15"/>
            </p:custDataLst>
          </p:nvPr>
        </p:nvSpPr>
        <p:spPr>
          <a:xfrm>
            <a:off x="7115584" y="2477865"/>
            <a:ext cx="1008000" cy="447079"/>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smtClean="0">
                <a:solidFill>
                  <a:schemeClr val="tx1"/>
                </a:solidFill>
              </a:rPr>
              <a:t>53% Increase</a:t>
            </a:r>
            <a:endParaRPr lang="en-CA" sz="1000" b="1" dirty="0">
              <a:solidFill>
                <a:schemeClr val="tx1"/>
              </a:solidFill>
            </a:endParaRPr>
          </a:p>
        </p:txBody>
      </p:sp>
    </p:spTree>
    <p:extLst>
      <p:ext uri="{BB962C8B-B14F-4D97-AF65-F5344CB8AC3E}">
        <p14:creationId xmlns:p14="http://schemas.microsoft.com/office/powerpoint/2010/main" val="11655768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Leverage formal risk management to cover all risk areas, and to maximize business collaboration</a:t>
            </a:r>
            <a:endParaRPr lang="en-CA" dirty="0"/>
          </a:p>
        </p:txBody>
      </p:sp>
      <p:sp>
        <p:nvSpPr>
          <p:cNvPr id="3" name="Text Placeholder 2"/>
          <p:cNvSpPr>
            <a:spLocks noGrp="1"/>
          </p:cNvSpPr>
          <p:nvPr>
            <p:ph type="body" sz="quarter" idx="16"/>
          </p:nvPr>
        </p:nvSpPr>
        <p:spPr>
          <a:xfrm>
            <a:off x="249302" y="1724112"/>
            <a:ext cx="5582838" cy="4455343"/>
          </a:xfrm>
        </p:spPr>
        <p:txBody>
          <a:bodyPr/>
          <a:lstStyle/>
          <a:p>
            <a:pPr marL="0" indent="0">
              <a:buNone/>
            </a:pPr>
            <a:r>
              <a:rPr lang="en-CA" dirty="0" smtClean="0"/>
              <a:t>Formal risk management strategies that promote IT and business collaboration generate the most success in identifying, assessing, mitigating, and communicating risk. This collaboration enables IT to constantly communicate risks throughout the entire risk management process. This adds value when establishing the necessary roles, responsibilities, and resources for effective mitigation plans. </a:t>
            </a:r>
            <a:br>
              <a:rPr lang="en-CA" dirty="0" smtClean="0"/>
            </a:br>
            <a:r>
              <a:rPr lang="en-CA" dirty="0" smtClean="0"/>
              <a:t/>
            </a:r>
            <a:br>
              <a:rPr lang="en-CA" dirty="0" smtClean="0"/>
            </a:br>
            <a:r>
              <a:rPr lang="en-CA" b="1" dirty="0" smtClean="0"/>
              <a:t>The following aspects of risk management are covered in this storyboard:</a:t>
            </a:r>
            <a:r>
              <a:rPr lang="en-CA" dirty="0" smtClean="0"/>
              <a:t/>
            </a:r>
            <a:br>
              <a:rPr lang="en-CA" dirty="0" smtClean="0"/>
            </a:br>
            <a:r>
              <a:rPr lang="en-CA" dirty="0" smtClean="0"/>
              <a:t/>
            </a:r>
            <a:br>
              <a:rPr lang="en-CA" dirty="0" smtClean="0"/>
            </a:br>
            <a:r>
              <a:rPr lang="en-CA" b="1" dirty="0" smtClean="0"/>
              <a:t>Establishing risk scenarios </a:t>
            </a:r>
            <a:r>
              <a:rPr lang="en-CA" dirty="0" smtClean="0"/>
              <a:t>allows an organization to understand which risks they are exposed to. This will be covered in the </a:t>
            </a:r>
            <a:r>
              <a:rPr lang="en-CA" b="1" dirty="0" smtClean="0">
                <a:solidFill>
                  <a:srgbClr val="C77709"/>
                </a:solidFill>
              </a:rPr>
              <a:t>Identify Risk </a:t>
            </a:r>
            <a:r>
              <a:rPr lang="en-CA" dirty="0" smtClean="0"/>
              <a:t>section of this storyboard.</a:t>
            </a:r>
            <a:br>
              <a:rPr lang="en-CA" dirty="0" smtClean="0"/>
            </a:br>
            <a:r>
              <a:rPr lang="en-CA" dirty="0" smtClean="0"/>
              <a:t/>
            </a:r>
            <a:br>
              <a:rPr lang="en-CA" dirty="0" smtClean="0"/>
            </a:br>
            <a:r>
              <a:rPr lang="en-US" b="1" dirty="0" smtClean="0"/>
              <a:t>Determining risk severity </a:t>
            </a:r>
            <a:r>
              <a:rPr lang="en-US" dirty="0" smtClean="0"/>
              <a:t>includes pointing out the category of risk sustained by an organization, the likelihood of these risks, and their impact level. This will be covered in the </a:t>
            </a:r>
            <a:r>
              <a:rPr lang="en-US" b="1" dirty="0" smtClean="0">
                <a:solidFill>
                  <a:srgbClr val="C77709"/>
                </a:solidFill>
              </a:rPr>
              <a:t>Assess Risk </a:t>
            </a:r>
            <a:r>
              <a:rPr lang="en-US" dirty="0" smtClean="0"/>
              <a:t>section.</a:t>
            </a:r>
            <a:br>
              <a:rPr lang="en-US" dirty="0" smtClean="0"/>
            </a:br>
            <a:r>
              <a:rPr lang="en-US" dirty="0" smtClean="0"/>
              <a:t/>
            </a:r>
            <a:br>
              <a:rPr lang="en-US" dirty="0" smtClean="0"/>
            </a:br>
            <a:r>
              <a:rPr lang="en-US" b="1" dirty="0" smtClean="0"/>
              <a:t>Build a risk response plan</a:t>
            </a:r>
            <a:r>
              <a:rPr lang="en-US" dirty="0" smtClean="0"/>
              <a:t>, and take action against risk by using a risk profile tool to identify projects and responsibilities related to addressing risks. This will be covered in the </a:t>
            </a:r>
            <a:r>
              <a:rPr lang="en-US" b="1" dirty="0" smtClean="0">
                <a:solidFill>
                  <a:srgbClr val="C77709"/>
                </a:solidFill>
              </a:rPr>
              <a:t>Mitigate Risk </a:t>
            </a:r>
            <a:r>
              <a:rPr lang="en-US" dirty="0" smtClean="0"/>
              <a:t>section.</a:t>
            </a:r>
            <a:br>
              <a:rPr lang="en-US" dirty="0" smtClean="0"/>
            </a:br>
            <a:r>
              <a:rPr lang="en-US" dirty="0" smtClean="0"/>
              <a:t/>
            </a:r>
            <a:br>
              <a:rPr lang="en-US" dirty="0" smtClean="0"/>
            </a:br>
            <a:r>
              <a:rPr lang="en-US" b="1" dirty="0" smtClean="0"/>
              <a:t>Communicate risks </a:t>
            </a:r>
            <a:r>
              <a:rPr lang="en-US" dirty="0" smtClean="0"/>
              <a:t>to the business by reporting risk, and agreeing to risk mitigation plans on an ongoing basis. Continuously update your risk profile after informal, and formal meetings with the business. This will be covered in the </a:t>
            </a:r>
            <a:r>
              <a:rPr lang="en-US" b="1" dirty="0" smtClean="0">
                <a:solidFill>
                  <a:srgbClr val="C77709"/>
                </a:solidFill>
              </a:rPr>
              <a:t>Communicate Risk </a:t>
            </a:r>
            <a:r>
              <a:rPr lang="en-US" dirty="0" smtClean="0"/>
              <a:t>section.</a:t>
            </a:r>
          </a:p>
          <a:p>
            <a:pPr marL="0" indent="0">
              <a:buNone/>
            </a:pPr>
            <a:endParaRPr lang="en-US" dirty="0" smtClean="0"/>
          </a:p>
          <a:p>
            <a:pPr marL="0" indent="0">
              <a:buNone/>
            </a:pPr>
            <a:endParaRPr lang="en-US" dirty="0" smtClean="0"/>
          </a:p>
          <a:p>
            <a:pPr marL="0" indent="0">
              <a:buNone/>
            </a:pPr>
            <a:endParaRPr lang="en-CA" dirty="0" smtClean="0"/>
          </a:p>
          <a:p>
            <a:pPr>
              <a:buNone/>
            </a:pPr>
            <a:endParaRPr lang="en-CA" dirty="0" smtClean="0"/>
          </a:p>
          <a:p>
            <a:endParaRPr lang="en-CA" dirty="0"/>
          </a:p>
        </p:txBody>
      </p:sp>
      <p:sp>
        <p:nvSpPr>
          <p:cNvPr id="4" name="Text Placeholder 39"/>
          <p:cNvSpPr txBox="1">
            <a:spLocks/>
          </p:cNvSpPr>
          <p:nvPr/>
        </p:nvSpPr>
        <p:spPr>
          <a:xfrm>
            <a:off x="257176" y="1115591"/>
            <a:ext cx="8620124" cy="657225"/>
          </a:xfrm>
          <a:prstGeom prst="rect">
            <a:avLst/>
          </a:prstGeom>
        </p:spPr>
        <p:txBody>
          <a:bodyPr/>
          <a:lstStyle/>
          <a:p>
            <a:pPr algn="l" eaLnBrk="0" hangingPunct="0">
              <a:spcBef>
                <a:spcPts val="0"/>
              </a:spcBef>
              <a:buClr>
                <a:srgbClr val="333333"/>
              </a:buClr>
              <a:buSzPct val="120000"/>
              <a:defRPr/>
            </a:pPr>
            <a:r>
              <a:rPr lang="en-US" b="1" dirty="0" smtClean="0">
                <a:solidFill>
                  <a:srgbClr val="333333"/>
                </a:solidFill>
                <a:latin typeface="Arial"/>
              </a:rPr>
              <a:t>A formal risk management strategy engages the business, and boosts business involvement success 80% more than ad-hoc approaches.</a:t>
            </a:r>
            <a:endParaRPr lang="en-US" b="1" dirty="0">
              <a:solidFill>
                <a:srgbClr val="333333"/>
              </a:solidFill>
              <a:latin typeface="Arial"/>
            </a:endParaRPr>
          </a:p>
        </p:txBody>
      </p:sp>
      <p:graphicFrame>
        <p:nvGraphicFramePr>
          <p:cNvPr id="5" name="Chart 4"/>
          <p:cNvGraphicFramePr/>
          <p:nvPr>
            <p:extLst>
              <p:ext uri="{D42A27DB-BD31-4B8C-83A1-F6EECF244321}">
                <p14:modId xmlns:p14="http://schemas.microsoft.com/office/powerpoint/2010/main" val="1065713117"/>
              </p:ext>
            </p:extLst>
          </p:nvPr>
        </p:nvGraphicFramePr>
        <p:xfrm>
          <a:off x="5770183" y="2536485"/>
          <a:ext cx="3240000" cy="3600000"/>
        </p:xfrm>
        <a:graphic>
          <a:graphicData uri="http://schemas.openxmlformats.org/drawingml/2006/chart">
            <c:chart xmlns:c="http://schemas.openxmlformats.org/drawingml/2006/chart" xmlns:r="http://schemas.openxmlformats.org/officeDocument/2006/relationships" r:id="rId7"/>
          </a:graphicData>
        </a:graphic>
      </p:graphicFrame>
      <p:sp>
        <p:nvSpPr>
          <p:cNvPr id="6" name="TextBox 5"/>
          <p:cNvSpPr txBox="1"/>
          <p:nvPr/>
        </p:nvSpPr>
        <p:spPr>
          <a:xfrm>
            <a:off x="5728809" y="6068325"/>
            <a:ext cx="3137718" cy="276999"/>
          </a:xfrm>
          <a:prstGeom prst="rect">
            <a:avLst/>
          </a:prstGeom>
          <a:noFill/>
        </p:spPr>
        <p:txBody>
          <a:bodyPr wrap="none" rtlCol="0">
            <a:spAutoFit/>
          </a:bodyPr>
          <a:lstStyle/>
          <a:p>
            <a:pPr algn="r"/>
            <a:r>
              <a:rPr lang="en-CA" sz="1200" dirty="0" smtClean="0"/>
              <a:t>Survey: Info-Tech Research Group, </a:t>
            </a:r>
            <a:r>
              <a:rPr lang="en-CA" sz="1200" i="1" dirty="0" smtClean="0"/>
              <a:t>N = 81</a:t>
            </a:r>
            <a:endParaRPr lang="en-CA" sz="1200" i="1" dirty="0"/>
          </a:p>
        </p:txBody>
      </p:sp>
      <p:sp>
        <p:nvSpPr>
          <p:cNvPr id="7" name="TextBox 6"/>
          <p:cNvSpPr txBox="1"/>
          <p:nvPr/>
        </p:nvSpPr>
        <p:spPr>
          <a:xfrm>
            <a:off x="5544108" y="1880828"/>
            <a:ext cx="3419873" cy="523220"/>
          </a:xfrm>
          <a:prstGeom prst="rect">
            <a:avLst/>
          </a:prstGeom>
          <a:noFill/>
        </p:spPr>
        <p:txBody>
          <a:bodyPr wrap="square" rtlCol="0">
            <a:spAutoFit/>
          </a:bodyPr>
          <a:lstStyle/>
          <a:p>
            <a:pPr fontAlgn="base">
              <a:spcBef>
                <a:spcPct val="0"/>
              </a:spcBef>
              <a:spcAft>
                <a:spcPct val="0"/>
              </a:spcAft>
            </a:pPr>
            <a:r>
              <a:rPr lang="en-US" sz="1400" b="1" dirty="0" smtClean="0">
                <a:solidFill>
                  <a:srgbClr val="333333"/>
                </a:solidFill>
              </a:rPr>
              <a:t>Business Involvement Success:</a:t>
            </a:r>
          </a:p>
          <a:p>
            <a:pPr fontAlgn="base">
              <a:spcBef>
                <a:spcPct val="0"/>
              </a:spcBef>
              <a:spcAft>
                <a:spcPct val="0"/>
              </a:spcAft>
            </a:pPr>
            <a:r>
              <a:rPr lang="en-US" sz="1400" b="1" dirty="0" smtClean="0">
                <a:solidFill>
                  <a:srgbClr val="333333"/>
                </a:solidFill>
              </a:rPr>
              <a:t>Formal Strategy vs. Ad-hoc Approach</a:t>
            </a:r>
          </a:p>
        </p:txBody>
      </p:sp>
      <p:cxnSp>
        <p:nvCxnSpPr>
          <p:cNvPr id="14" name="Straight Connector 13"/>
          <p:cNvCxnSpPr/>
          <p:nvPr>
            <p:custDataLst>
              <p:tags r:id="rId1"/>
            </p:custDataLst>
          </p:nvPr>
        </p:nvCxnSpPr>
        <p:spPr>
          <a:xfrm flipV="1">
            <a:off x="7020272" y="2708920"/>
            <a:ext cx="0" cy="1332149"/>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2"/>
            </p:custDataLst>
          </p:nvPr>
        </p:nvCxnSpPr>
        <p:spPr>
          <a:xfrm>
            <a:off x="7020272" y="2708920"/>
            <a:ext cx="118813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3"/>
            </p:custDataLst>
          </p:nvPr>
        </p:nvCxnSpPr>
        <p:spPr>
          <a:xfrm>
            <a:off x="8210146" y="2702570"/>
            <a:ext cx="0" cy="123043"/>
          </a:xfrm>
          <a:prstGeom prst="line">
            <a:avLst/>
          </a:prstGeom>
        </p:spPr>
        <p:style>
          <a:lnRef idx="1">
            <a:schemeClr val="accent1"/>
          </a:lnRef>
          <a:fillRef idx="0">
            <a:schemeClr val="accent1"/>
          </a:fillRef>
          <a:effectRef idx="0">
            <a:schemeClr val="accent1"/>
          </a:effectRef>
          <a:fontRef idx="minor">
            <a:schemeClr val="tx1"/>
          </a:fontRef>
        </p:style>
      </p:cxnSp>
      <p:sp>
        <p:nvSpPr>
          <p:cNvPr id="17" name="Oval 16"/>
          <p:cNvSpPr/>
          <p:nvPr>
            <p:custDataLst>
              <p:tags r:id="rId4"/>
            </p:custDataLst>
          </p:nvPr>
        </p:nvSpPr>
        <p:spPr>
          <a:xfrm>
            <a:off x="7115584" y="2441861"/>
            <a:ext cx="1008000" cy="447079"/>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smtClean="0">
                <a:solidFill>
                  <a:schemeClr val="tx1"/>
                </a:solidFill>
              </a:rPr>
              <a:t>80% Increase</a:t>
            </a:r>
            <a:endParaRPr lang="en-CA" sz="1000" b="1" dirty="0">
              <a:solidFill>
                <a:schemeClr val="tx1"/>
              </a:solidFill>
            </a:endParaRPr>
          </a:p>
        </p:txBody>
      </p:sp>
    </p:spTree>
    <p:extLst>
      <p:ext uri="{BB962C8B-B14F-4D97-AF65-F5344CB8AC3E}">
        <p14:creationId xmlns:p14="http://schemas.microsoft.com/office/powerpoint/2010/main" val="365827375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US" dirty="0" smtClean="0"/>
              <a:t>Know when and how to communicate to your stakeholders to optimize business involvement.</a:t>
            </a:r>
            <a:endParaRPr lang="en-US" dirty="0"/>
          </a:p>
        </p:txBody>
      </p:sp>
      <p:sp>
        <p:nvSpPr>
          <p:cNvPr id="3" name="Title 2"/>
          <p:cNvSpPr>
            <a:spLocks noGrp="1"/>
          </p:cNvSpPr>
          <p:nvPr>
            <p:ph type="title"/>
          </p:nvPr>
        </p:nvSpPr>
        <p:spPr>
          <a:xfrm>
            <a:off x="251520" y="260648"/>
            <a:ext cx="7812868" cy="864096"/>
          </a:xfrm>
        </p:spPr>
        <p:txBody>
          <a:bodyPr/>
          <a:lstStyle/>
          <a:p>
            <a:r>
              <a:rPr lang="en-US" dirty="0" smtClean="0"/>
              <a:t>Create a formal communication plan to keep the business on-point for risk management</a:t>
            </a:r>
            <a:endParaRPr lang="en-US" dirty="0"/>
          </a:p>
        </p:txBody>
      </p:sp>
      <p:sp>
        <p:nvSpPr>
          <p:cNvPr id="4" name="Text Placeholder 3"/>
          <p:cNvSpPr>
            <a:spLocks noGrp="1"/>
          </p:cNvSpPr>
          <p:nvPr>
            <p:ph type="body" sz="quarter" idx="16"/>
          </p:nvPr>
        </p:nvSpPr>
        <p:spPr>
          <a:xfrm>
            <a:off x="249303" y="1892896"/>
            <a:ext cx="4286694" cy="4313785"/>
          </a:xfrm>
        </p:spPr>
        <p:txBody>
          <a:bodyPr/>
          <a:lstStyle/>
          <a:p>
            <a:r>
              <a:rPr lang="en-US" dirty="0" smtClean="0"/>
              <a:t> When beginning your risk management strategy, you will ideally be </a:t>
            </a:r>
            <a:r>
              <a:rPr lang="en-US" b="1" dirty="0" smtClean="0"/>
              <a:t>communicating at several junctures </a:t>
            </a:r>
            <a:r>
              <a:rPr lang="en-US" dirty="0" smtClean="0"/>
              <a:t>throughout the process:</a:t>
            </a:r>
            <a:endParaRPr lang="en-US" dirty="0"/>
          </a:p>
          <a:p>
            <a:pPr lvl="1"/>
            <a:r>
              <a:rPr lang="en-US" dirty="0" smtClean="0"/>
              <a:t>At the preliminary risk </a:t>
            </a:r>
            <a:r>
              <a:rPr lang="en-US" b="1" dirty="0" smtClean="0"/>
              <a:t>identification </a:t>
            </a:r>
            <a:r>
              <a:rPr lang="en-US" dirty="0" smtClean="0"/>
              <a:t>stage</a:t>
            </a:r>
          </a:p>
          <a:p>
            <a:pPr lvl="1"/>
            <a:r>
              <a:rPr lang="en-US" dirty="0" smtClean="0"/>
              <a:t>When verifying accuracy of impact, and likelihood during the risk </a:t>
            </a:r>
            <a:r>
              <a:rPr lang="en-US" b="1" dirty="0" smtClean="0"/>
              <a:t>assessment</a:t>
            </a:r>
          </a:p>
          <a:p>
            <a:pPr lvl="1"/>
            <a:r>
              <a:rPr lang="en-US" dirty="0" smtClean="0"/>
              <a:t>When assigning roles to the </a:t>
            </a:r>
            <a:r>
              <a:rPr lang="en-US" b="1" dirty="0" smtClean="0"/>
              <a:t>mitigation </a:t>
            </a:r>
            <a:r>
              <a:rPr lang="en-US" dirty="0" smtClean="0"/>
              <a:t>of specific risk events</a:t>
            </a:r>
          </a:p>
          <a:p>
            <a:pPr lvl="1"/>
            <a:r>
              <a:rPr lang="en-US" dirty="0" smtClean="0"/>
              <a:t>On a consistent, preferably monthly basis for a one hour meeting to discuss risk, and </a:t>
            </a:r>
            <a:r>
              <a:rPr lang="en-US" b="1" dirty="0" smtClean="0"/>
              <a:t>update the risk profile</a:t>
            </a:r>
            <a:r>
              <a:rPr lang="en-US" dirty="0" smtClean="0"/>
              <a:t>.</a:t>
            </a:r>
          </a:p>
          <a:p>
            <a:r>
              <a:rPr lang="en-US" dirty="0" smtClean="0"/>
              <a:t>Once clear risk management responsibilities have been assigned, either through the RMSC or on a smaller scale, the communication of success metrics, and needed adjustments must be done on a regular basis. Without this level of communication, the business will not see the overall benefit of risk management, and the practice could fall by the wayside.</a:t>
            </a:r>
          </a:p>
          <a:p>
            <a:r>
              <a:rPr lang="en-US" dirty="0" smtClean="0"/>
              <a:t>Leverage the RMSC to filter any risk reports that are sent to the business to summarize the overall success of risk management.</a:t>
            </a:r>
          </a:p>
          <a:p>
            <a:pPr lvl="1"/>
            <a:endParaRPr lang="en-US" dirty="0" smtClean="0"/>
          </a:p>
        </p:txBody>
      </p:sp>
      <p:grpSp>
        <p:nvGrpSpPr>
          <p:cNvPr id="5" name="Group 7"/>
          <p:cNvGrpSpPr/>
          <p:nvPr/>
        </p:nvGrpSpPr>
        <p:grpSpPr>
          <a:xfrm>
            <a:off x="5493409" y="2240868"/>
            <a:ext cx="2556284" cy="2556284"/>
            <a:chOff x="2555776" y="3284984"/>
            <a:chExt cx="2556284" cy="2556284"/>
          </a:xfrm>
        </p:grpSpPr>
        <p:sp>
          <p:nvSpPr>
            <p:cNvPr id="9" name="Oval 8"/>
            <p:cNvSpPr/>
            <p:nvPr>
              <p:custDataLst>
                <p:tags r:id="rId2"/>
              </p:custDataLst>
            </p:nvPr>
          </p:nvSpPr>
          <p:spPr>
            <a:xfrm>
              <a:off x="2555776" y="3284984"/>
              <a:ext cx="2556284" cy="2556284"/>
            </a:xfrm>
            <a:prstGeom prst="ellipse">
              <a:avLst/>
            </a:prstGeom>
            <a:solidFill>
              <a:srgbClr val="1F497D">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6" name="Group 35"/>
            <p:cNvGrpSpPr/>
            <p:nvPr/>
          </p:nvGrpSpPr>
          <p:grpSpPr>
            <a:xfrm>
              <a:off x="2706440" y="3658476"/>
              <a:ext cx="2174369" cy="1619105"/>
              <a:chOff x="1024218" y="1778669"/>
              <a:chExt cx="2174369" cy="1619105"/>
            </a:xfrm>
          </p:grpSpPr>
          <p:sp>
            <p:nvSpPr>
              <p:cNvPr id="11" name="Oval 10"/>
              <p:cNvSpPr/>
              <p:nvPr/>
            </p:nvSpPr>
            <p:spPr>
              <a:xfrm>
                <a:off x="1554657" y="2269273"/>
                <a:ext cx="1152128" cy="864096"/>
              </a:xfrm>
              <a:prstGeom prst="ellipse">
                <a:avLst/>
              </a:prstGeom>
              <a:solidFill>
                <a:srgbClr val="FFFFFF">
                  <a:lumMod val="85000"/>
                </a:srgbClr>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1" u="none" strike="noStrike" kern="0" cap="none" spc="0" normalizeH="0" baseline="0" noProof="0" dirty="0" smtClean="0">
                    <a:ln>
                      <a:noFill/>
                    </a:ln>
                    <a:solidFill>
                      <a:srgbClr val="333333"/>
                    </a:solidFill>
                    <a:effectLst/>
                    <a:uLnTx/>
                    <a:uFillTx/>
                    <a:latin typeface="Arial"/>
                    <a:ea typeface="+mn-ea"/>
                    <a:cs typeface="+mn-cs"/>
                  </a:rPr>
                  <a:t>Business&amp; IT</a:t>
                </a:r>
                <a:endParaRPr kumimoji="0" lang="en-US" sz="1200" i="1" u="none" strike="noStrike" kern="0" cap="none" spc="0" normalizeH="0" baseline="0" noProof="0" dirty="0">
                  <a:ln>
                    <a:noFill/>
                  </a:ln>
                  <a:solidFill>
                    <a:srgbClr val="333333"/>
                  </a:solidFill>
                  <a:effectLst/>
                  <a:uLnTx/>
                  <a:uFillTx/>
                  <a:latin typeface="Arial"/>
                  <a:ea typeface="+mn-ea"/>
                  <a:cs typeface="+mn-cs"/>
                </a:endParaRPr>
              </a:p>
            </p:txBody>
          </p:sp>
          <p:sp>
            <p:nvSpPr>
              <p:cNvPr id="12" name="Freeform 6"/>
              <p:cNvSpPr>
                <a:spLocks/>
              </p:cNvSpPr>
              <p:nvPr/>
            </p:nvSpPr>
            <p:spPr bwMode="auto">
              <a:xfrm rot="20535687">
                <a:off x="1758587" y="2317774"/>
                <a:ext cx="1440000" cy="1080000"/>
              </a:xfrm>
              <a:custGeom>
                <a:avLst/>
                <a:gdLst/>
                <a:ahLst/>
                <a:cxnLst>
                  <a:cxn ang="0">
                    <a:pos x="312" y="1600"/>
                  </a:cxn>
                  <a:cxn ang="0">
                    <a:pos x="476" y="1592"/>
                  </a:cxn>
                  <a:cxn ang="0">
                    <a:pos x="634" y="1566"/>
                  </a:cxn>
                  <a:cxn ang="0">
                    <a:pos x="788" y="1528"/>
                  </a:cxn>
                  <a:cxn ang="0">
                    <a:pos x="934" y="1474"/>
                  </a:cxn>
                  <a:cxn ang="0">
                    <a:pos x="1074" y="1406"/>
                  </a:cxn>
                  <a:cxn ang="0">
                    <a:pos x="1206" y="1326"/>
                  </a:cxn>
                  <a:cxn ang="0">
                    <a:pos x="1330" y="1234"/>
                  </a:cxn>
                  <a:cxn ang="0">
                    <a:pos x="1442" y="1132"/>
                  </a:cxn>
                  <a:cxn ang="0">
                    <a:pos x="1546" y="1018"/>
                  </a:cxn>
                  <a:cxn ang="0">
                    <a:pos x="1638" y="896"/>
                  </a:cxn>
                  <a:cxn ang="0">
                    <a:pos x="1718" y="764"/>
                  </a:cxn>
                  <a:cxn ang="0">
                    <a:pos x="1786" y="624"/>
                  </a:cxn>
                  <a:cxn ang="0">
                    <a:pos x="1840" y="478"/>
                  </a:cxn>
                  <a:cxn ang="0">
                    <a:pos x="1880" y="324"/>
                  </a:cxn>
                  <a:cxn ang="0">
                    <a:pos x="1904" y="166"/>
                  </a:cxn>
                  <a:cxn ang="0">
                    <a:pos x="1912" y="2"/>
                  </a:cxn>
                  <a:cxn ang="0">
                    <a:pos x="1594" y="312"/>
                  </a:cxn>
                  <a:cxn ang="0">
                    <a:pos x="1276" y="2"/>
                  </a:cxn>
                  <a:cxn ang="0">
                    <a:pos x="1272" y="0"/>
                  </a:cxn>
                  <a:cxn ang="0">
                    <a:pos x="1268" y="98"/>
                  </a:cxn>
                  <a:cxn ang="0">
                    <a:pos x="1252" y="192"/>
                  </a:cxn>
                  <a:cxn ang="0">
                    <a:pos x="1228" y="284"/>
                  </a:cxn>
                  <a:cxn ang="0">
                    <a:pos x="1196" y="374"/>
                  </a:cxn>
                  <a:cxn ang="0">
                    <a:pos x="1156" y="458"/>
                  </a:cxn>
                  <a:cxn ang="0">
                    <a:pos x="1108" y="536"/>
                  </a:cxn>
                  <a:cxn ang="0">
                    <a:pos x="1052" y="610"/>
                  </a:cxn>
                  <a:cxn ang="0">
                    <a:pos x="992" y="678"/>
                  </a:cxn>
                  <a:cxn ang="0">
                    <a:pos x="922" y="740"/>
                  </a:cxn>
                  <a:cxn ang="0">
                    <a:pos x="848" y="796"/>
                  </a:cxn>
                  <a:cxn ang="0">
                    <a:pos x="770" y="844"/>
                  </a:cxn>
                  <a:cxn ang="0">
                    <a:pos x="686" y="884"/>
                  </a:cxn>
                  <a:cxn ang="0">
                    <a:pos x="598" y="916"/>
                  </a:cxn>
                  <a:cxn ang="0">
                    <a:pos x="506" y="940"/>
                  </a:cxn>
                  <a:cxn ang="0">
                    <a:pos x="410" y="954"/>
                  </a:cxn>
                  <a:cxn ang="0">
                    <a:pos x="312" y="960"/>
                  </a:cxn>
                  <a:cxn ang="0">
                    <a:pos x="156" y="1120"/>
                  </a:cxn>
                  <a:cxn ang="0">
                    <a:pos x="156" y="1438"/>
                  </a:cxn>
                  <a:cxn ang="0">
                    <a:pos x="312" y="1600"/>
                  </a:cxn>
                </a:cxnLst>
                <a:rect l="0" t="0" r="r" b="b"/>
                <a:pathLst>
                  <a:path w="1912" h="1600">
                    <a:moveTo>
                      <a:pt x="312" y="1600"/>
                    </a:moveTo>
                    <a:lnTo>
                      <a:pt x="312" y="1600"/>
                    </a:lnTo>
                    <a:lnTo>
                      <a:pt x="394" y="1598"/>
                    </a:lnTo>
                    <a:lnTo>
                      <a:pt x="476" y="1592"/>
                    </a:lnTo>
                    <a:lnTo>
                      <a:pt x="556" y="1580"/>
                    </a:lnTo>
                    <a:lnTo>
                      <a:pt x="634" y="1566"/>
                    </a:lnTo>
                    <a:lnTo>
                      <a:pt x="712" y="1550"/>
                    </a:lnTo>
                    <a:lnTo>
                      <a:pt x="788" y="1528"/>
                    </a:lnTo>
                    <a:lnTo>
                      <a:pt x="862" y="1502"/>
                    </a:lnTo>
                    <a:lnTo>
                      <a:pt x="934" y="1474"/>
                    </a:lnTo>
                    <a:lnTo>
                      <a:pt x="1006" y="1442"/>
                    </a:lnTo>
                    <a:lnTo>
                      <a:pt x="1074" y="1406"/>
                    </a:lnTo>
                    <a:lnTo>
                      <a:pt x="1142" y="1368"/>
                    </a:lnTo>
                    <a:lnTo>
                      <a:pt x="1206" y="1326"/>
                    </a:lnTo>
                    <a:lnTo>
                      <a:pt x="1268" y="1282"/>
                    </a:lnTo>
                    <a:lnTo>
                      <a:pt x="1330" y="1234"/>
                    </a:lnTo>
                    <a:lnTo>
                      <a:pt x="1388" y="1184"/>
                    </a:lnTo>
                    <a:lnTo>
                      <a:pt x="1442" y="1132"/>
                    </a:lnTo>
                    <a:lnTo>
                      <a:pt x="1496" y="1076"/>
                    </a:lnTo>
                    <a:lnTo>
                      <a:pt x="1546" y="1018"/>
                    </a:lnTo>
                    <a:lnTo>
                      <a:pt x="1594" y="958"/>
                    </a:lnTo>
                    <a:lnTo>
                      <a:pt x="1638" y="896"/>
                    </a:lnTo>
                    <a:lnTo>
                      <a:pt x="1680" y="830"/>
                    </a:lnTo>
                    <a:lnTo>
                      <a:pt x="1718" y="764"/>
                    </a:lnTo>
                    <a:lnTo>
                      <a:pt x="1754" y="694"/>
                    </a:lnTo>
                    <a:lnTo>
                      <a:pt x="1786" y="624"/>
                    </a:lnTo>
                    <a:lnTo>
                      <a:pt x="1814" y="552"/>
                    </a:lnTo>
                    <a:lnTo>
                      <a:pt x="1840" y="478"/>
                    </a:lnTo>
                    <a:lnTo>
                      <a:pt x="1862" y="402"/>
                    </a:lnTo>
                    <a:lnTo>
                      <a:pt x="1880" y="324"/>
                    </a:lnTo>
                    <a:lnTo>
                      <a:pt x="1894" y="246"/>
                    </a:lnTo>
                    <a:lnTo>
                      <a:pt x="1904" y="166"/>
                    </a:lnTo>
                    <a:lnTo>
                      <a:pt x="1910" y="84"/>
                    </a:lnTo>
                    <a:lnTo>
                      <a:pt x="1912" y="2"/>
                    </a:lnTo>
                    <a:lnTo>
                      <a:pt x="1754" y="158"/>
                    </a:lnTo>
                    <a:lnTo>
                      <a:pt x="1594" y="312"/>
                    </a:lnTo>
                    <a:lnTo>
                      <a:pt x="1436" y="158"/>
                    </a:lnTo>
                    <a:lnTo>
                      <a:pt x="1276" y="2"/>
                    </a:lnTo>
                    <a:lnTo>
                      <a:pt x="1272" y="0"/>
                    </a:lnTo>
                    <a:lnTo>
                      <a:pt x="1272" y="0"/>
                    </a:lnTo>
                    <a:lnTo>
                      <a:pt x="1270" y="48"/>
                    </a:lnTo>
                    <a:lnTo>
                      <a:pt x="1268" y="98"/>
                    </a:lnTo>
                    <a:lnTo>
                      <a:pt x="1260" y="146"/>
                    </a:lnTo>
                    <a:lnTo>
                      <a:pt x="1252" y="192"/>
                    </a:lnTo>
                    <a:lnTo>
                      <a:pt x="1242" y="240"/>
                    </a:lnTo>
                    <a:lnTo>
                      <a:pt x="1228" y="284"/>
                    </a:lnTo>
                    <a:lnTo>
                      <a:pt x="1214" y="330"/>
                    </a:lnTo>
                    <a:lnTo>
                      <a:pt x="1196" y="374"/>
                    </a:lnTo>
                    <a:lnTo>
                      <a:pt x="1178" y="416"/>
                    </a:lnTo>
                    <a:lnTo>
                      <a:pt x="1156" y="458"/>
                    </a:lnTo>
                    <a:lnTo>
                      <a:pt x="1134" y="498"/>
                    </a:lnTo>
                    <a:lnTo>
                      <a:pt x="1108" y="536"/>
                    </a:lnTo>
                    <a:lnTo>
                      <a:pt x="1082" y="574"/>
                    </a:lnTo>
                    <a:lnTo>
                      <a:pt x="1052" y="610"/>
                    </a:lnTo>
                    <a:lnTo>
                      <a:pt x="1022" y="644"/>
                    </a:lnTo>
                    <a:lnTo>
                      <a:pt x="992" y="678"/>
                    </a:lnTo>
                    <a:lnTo>
                      <a:pt x="958" y="710"/>
                    </a:lnTo>
                    <a:lnTo>
                      <a:pt x="922" y="740"/>
                    </a:lnTo>
                    <a:lnTo>
                      <a:pt x="886" y="768"/>
                    </a:lnTo>
                    <a:lnTo>
                      <a:pt x="848" y="796"/>
                    </a:lnTo>
                    <a:lnTo>
                      <a:pt x="810" y="820"/>
                    </a:lnTo>
                    <a:lnTo>
                      <a:pt x="770" y="844"/>
                    </a:lnTo>
                    <a:lnTo>
                      <a:pt x="728" y="864"/>
                    </a:lnTo>
                    <a:lnTo>
                      <a:pt x="686" y="884"/>
                    </a:lnTo>
                    <a:lnTo>
                      <a:pt x="642" y="902"/>
                    </a:lnTo>
                    <a:lnTo>
                      <a:pt x="598" y="916"/>
                    </a:lnTo>
                    <a:lnTo>
                      <a:pt x="552" y="930"/>
                    </a:lnTo>
                    <a:lnTo>
                      <a:pt x="506" y="940"/>
                    </a:lnTo>
                    <a:lnTo>
                      <a:pt x="458" y="948"/>
                    </a:lnTo>
                    <a:lnTo>
                      <a:pt x="410" y="954"/>
                    </a:lnTo>
                    <a:lnTo>
                      <a:pt x="362" y="958"/>
                    </a:lnTo>
                    <a:lnTo>
                      <a:pt x="312" y="960"/>
                    </a:lnTo>
                    <a:lnTo>
                      <a:pt x="310" y="962"/>
                    </a:lnTo>
                    <a:lnTo>
                      <a:pt x="156" y="1120"/>
                    </a:lnTo>
                    <a:lnTo>
                      <a:pt x="0" y="1280"/>
                    </a:lnTo>
                    <a:lnTo>
                      <a:pt x="156" y="1438"/>
                    </a:lnTo>
                    <a:lnTo>
                      <a:pt x="310" y="1596"/>
                    </a:lnTo>
                    <a:lnTo>
                      <a:pt x="312" y="1600"/>
                    </a:lnTo>
                    <a:close/>
                  </a:path>
                </a:pathLst>
              </a:custGeom>
              <a:solidFill>
                <a:srgbClr val="FFFFFF">
                  <a:lumMod val="75000"/>
                </a:srgbClr>
              </a:solidFill>
              <a:ln w="38100" cmpd="sng">
                <a:no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3" name="Freeform 12"/>
              <p:cNvSpPr>
                <a:spLocks/>
              </p:cNvSpPr>
              <p:nvPr/>
            </p:nvSpPr>
            <p:spPr bwMode="auto">
              <a:xfrm rot="19822024">
                <a:off x="1485599" y="1778669"/>
                <a:ext cx="1438255" cy="1080000"/>
              </a:xfrm>
              <a:custGeom>
                <a:avLst/>
                <a:gdLst/>
                <a:ahLst/>
                <a:cxnLst>
                  <a:cxn ang="0">
                    <a:pos x="1600" y="1600"/>
                  </a:cxn>
                  <a:cxn ang="0">
                    <a:pos x="1592" y="1436"/>
                  </a:cxn>
                  <a:cxn ang="0">
                    <a:pos x="1568" y="1278"/>
                  </a:cxn>
                  <a:cxn ang="0">
                    <a:pos x="1528" y="1124"/>
                  </a:cxn>
                  <a:cxn ang="0">
                    <a:pos x="1474" y="978"/>
                  </a:cxn>
                  <a:cxn ang="0">
                    <a:pos x="1408" y="838"/>
                  </a:cxn>
                  <a:cxn ang="0">
                    <a:pos x="1328" y="706"/>
                  </a:cxn>
                  <a:cxn ang="0">
                    <a:pos x="1236" y="582"/>
                  </a:cxn>
                  <a:cxn ang="0">
                    <a:pos x="1132" y="470"/>
                  </a:cxn>
                  <a:cxn ang="0">
                    <a:pos x="1020" y="366"/>
                  </a:cxn>
                  <a:cxn ang="0">
                    <a:pos x="896" y="274"/>
                  </a:cxn>
                  <a:cxn ang="0">
                    <a:pos x="764" y="194"/>
                  </a:cxn>
                  <a:cxn ang="0">
                    <a:pos x="624" y="126"/>
                  </a:cxn>
                  <a:cxn ang="0">
                    <a:pos x="478" y="72"/>
                  </a:cxn>
                  <a:cxn ang="0">
                    <a:pos x="324" y="32"/>
                  </a:cxn>
                  <a:cxn ang="0">
                    <a:pos x="166" y="8"/>
                  </a:cxn>
                  <a:cxn ang="0">
                    <a:pos x="2" y="0"/>
                  </a:cxn>
                  <a:cxn ang="0">
                    <a:pos x="312" y="318"/>
                  </a:cxn>
                  <a:cxn ang="0">
                    <a:pos x="2" y="636"/>
                  </a:cxn>
                  <a:cxn ang="0">
                    <a:pos x="0" y="640"/>
                  </a:cxn>
                  <a:cxn ang="0">
                    <a:pos x="98" y="644"/>
                  </a:cxn>
                  <a:cxn ang="0">
                    <a:pos x="194" y="660"/>
                  </a:cxn>
                  <a:cxn ang="0">
                    <a:pos x="286" y="684"/>
                  </a:cxn>
                  <a:cxn ang="0">
                    <a:pos x="374" y="716"/>
                  </a:cxn>
                  <a:cxn ang="0">
                    <a:pos x="458" y="756"/>
                  </a:cxn>
                  <a:cxn ang="0">
                    <a:pos x="536" y="804"/>
                  </a:cxn>
                  <a:cxn ang="0">
                    <a:pos x="610" y="860"/>
                  </a:cxn>
                  <a:cxn ang="0">
                    <a:pos x="678" y="920"/>
                  </a:cxn>
                  <a:cxn ang="0">
                    <a:pos x="740" y="990"/>
                  </a:cxn>
                  <a:cxn ang="0">
                    <a:pos x="796" y="1064"/>
                  </a:cxn>
                  <a:cxn ang="0">
                    <a:pos x="844" y="1142"/>
                  </a:cxn>
                  <a:cxn ang="0">
                    <a:pos x="884" y="1226"/>
                  </a:cxn>
                  <a:cxn ang="0">
                    <a:pos x="916" y="1314"/>
                  </a:cxn>
                  <a:cxn ang="0">
                    <a:pos x="940" y="1406"/>
                  </a:cxn>
                  <a:cxn ang="0">
                    <a:pos x="956" y="1502"/>
                  </a:cxn>
                  <a:cxn ang="0">
                    <a:pos x="960" y="1600"/>
                  </a:cxn>
                  <a:cxn ang="0">
                    <a:pos x="1120" y="1756"/>
                  </a:cxn>
                  <a:cxn ang="0">
                    <a:pos x="1438" y="1756"/>
                  </a:cxn>
                  <a:cxn ang="0">
                    <a:pos x="1600" y="1600"/>
                  </a:cxn>
                </a:cxnLst>
                <a:rect l="0" t="0" r="r" b="b"/>
                <a:pathLst>
                  <a:path w="1600" h="1912">
                    <a:moveTo>
                      <a:pt x="1600" y="1600"/>
                    </a:moveTo>
                    <a:lnTo>
                      <a:pt x="1600" y="1600"/>
                    </a:lnTo>
                    <a:lnTo>
                      <a:pt x="1598" y="1518"/>
                    </a:lnTo>
                    <a:lnTo>
                      <a:pt x="1592" y="1436"/>
                    </a:lnTo>
                    <a:lnTo>
                      <a:pt x="1582" y="1356"/>
                    </a:lnTo>
                    <a:lnTo>
                      <a:pt x="1568" y="1278"/>
                    </a:lnTo>
                    <a:lnTo>
                      <a:pt x="1550" y="1200"/>
                    </a:lnTo>
                    <a:lnTo>
                      <a:pt x="1528" y="1124"/>
                    </a:lnTo>
                    <a:lnTo>
                      <a:pt x="1504" y="1050"/>
                    </a:lnTo>
                    <a:lnTo>
                      <a:pt x="1474" y="978"/>
                    </a:lnTo>
                    <a:lnTo>
                      <a:pt x="1442" y="906"/>
                    </a:lnTo>
                    <a:lnTo>
                      <a:pt x="1408" y="838"/>
                    </a:lnTo>
                    <a:lnTo>
                      <a:pt x="1368" y="770"/>
                    </a:lnTo>
                    <a:lnTo>
                      <a:pt x="1328" y="706"/>
                    </a:lnTo>
                    <a:lnTo>
                      <a:pt x="1282" y="644"/>
                    </a:lnTo>
                    <a:lnTo>
                      <a:pt x="1236" y="582"/>
                    </a:lnTo>
                    <a:lnTo>
                      <a:pt x="1186" y="524"/>
                    </a:lnTo>
                    <a:lnTo>
                      <a:pt x="1132" y="470"/>
                    </a:lnTo>
                    <a:lnTo>
                      <a:pt x="1078" y="416"/>
                    </a:lnTo>
                    <a:lnTo>
                      <a:pt x="1020" y="366"/>
                    </a:lnTo>
                    <a:lnTo>
                      <a:pt x="958" y="318"/>
                    </a:lnTo>
                    <a:lnTo>
                      <a:pt x="896" y="274"/>
                    </a:lnTo>
                    <a:lnTo>
                      <a:pt x="832" y="232"/>
                    </a:lnTo>
                    <a:lnTo>
                      <a:pt x="764" y="194"/>
                    </a:lnTo>
                    <a:lnTo>
                      <a:pt x="696" y="158"/>
                    </a:lnTo>
                    <a:lnTo>
                      <a:pt x="624" y="126"/>
                    </a:lnTo>
                    <a:lnTo>
                      <a:pt x="552" y="98"/>
                    </a:lnTo>
                    <a:lnTo>
                      <a:pt x="478" y="72"/>
                    </a:lnTo>
                    <a:lnTo>
                      <a:pt x="402" y="50"/>
                    </a:lnTo>
                    <a:lnTo>
                      <a:pt x="324" y="32"/>
                    </a:lnTo>
                    <a:lnTo>
                      <a:pt x="246" y="18"/>
                    </a:lnTo>
                    <a:lnTo>
                      <a:pt x="166" y="8"/>
                    </a:lnTo>
                    <a:lnTo>
                      <a:pt x="86" y="2"/>
                    </a:lnTo>
                    <a:lnTo>
                      <a:pt x="2" y="0"/>
                    </a:lnTo>
                    <a:lnTo>
                      <a:pt x="158" y="158"/>
                    </a:lnTo>
                    <a:lnTo>
                      <a:pt x="312" y="318"/>
                    </a:lnTo>
                    <a:lnTo>
                      <a:pt x="158" y="476"/>
                    </a:lnTo>
                    <a:lnTo>
                      <a:pt x="2" y="636"/>
                    </a:lnTo>
                    <a:lnTo>
                      <a:pt x="0" y="640"/>
                    </a:lnTo>
                    <a:lnTo>
                      <a:pt x="0" y="640"/>
                    </a:lnTo>
                    <a:lnTo>
                      <a:pt x="50" y="642"/>
                    </a:lnTo>
                    <a:lnTo>
                      <a:pt x="98" y="644"/>
                    </a:lnTo>
                    <a:lnTo>
                      <a:pt x="146" y="652"/>
                    </a:lnTo>
                    <a:lnTo>
                      <a:pt x="194" y="660"/>
                    </a:lnTo>
                    <a:lnTo>
                      <a:pt x="240" y="670"/>
                    </a:lnTo>
                    <a:lnTo>
                      <a:pt x="286" y="684"/>
                    </a:lnTo>
                    <a:lnTo>
                      <a:pt x="330" y="698"/>
                    </a:lnTo>
                    <a:lnTo>
                      <a:pt x="374" y="716"/>
                    </a:lnTo>
                    <a:lnTo>
                      <a:pt x="416" y="734"/>
                    </a:lnTo>
                    <a:lnTo>
                      <a:pt x="458" y="756"/>
                    </a:lnTo>
                    <a:lnTo>
                      <a:pt x="498" y="778"/>
                    </a:lnTo>
                    <a:lnTo>
                      <a:pt x="536" y="804"/>
                    </a:lnTo>
                    <a:lnTo>
                      <a:pt x="574" y="830"/>
                    </a:lnTo>
                    <a:lnTo>
                      <a:pt x="610" y="860"/>
                    </a:lnTo>
                    <a:lnTo>
                      <a:pt x="646" y="890"/>
                    </a:lnTo>
                    <a:lnTo>
                      <a:pt x="678" y="920"/>
                    </a:lnTo>
                    <a:lnTo>
                      <a:pt x="710" y="954"/>
                    </a:lnTo>
                    <a:lnTo>
                      <a:pt x="740" y="990"/>
                    </a:lnTo>
                    <a:lnTo>
                      <a:pt x="770" y="1026"/>
                    </a:lnTo>
                    <a:lnTo>
                      <a:pt x="796" y="1064"/>
                    </a:lnTo>
                    <a:lnTo>
                      <a:pt x="822" y="1102"/>
                    </a:lnTo>
                    <a:lnTo>
                      <a:pt x="844" y="1142"/>
                    </a:lnTo>
                    <a:lnTo>
                      <a:pt x="866" y="1184"/>
                    </a:lnTo>
                    <a:lnTo>
                      <a:pt x="884" y="1226"/>
                    </a:lnTo>
                    <a:lnTo>
                      <a:pt x="902" y="1270"/>
                    </a:lnTo>
                    <a:lnTo>
                      <a:pt x="916" y="1314"/>
                    </a:lnTo>
                    <a:lnTo>
                      <a:pt x="930" y="1360"/>
                    </a:lnTo>
                    <a:lnTo>
                      <a:pt x="940" y="1406"/>
                    </a:lnTo>
                    <a:lnTo>
                      <a:pt x="948" y="1454"/>
                    </a:lnTo>
                    <a:lnTo>
                      <a:pt x="956" y="1502"/>
                    </a:lnTo>
                    <a:lnTo>
                      <a:pt x="958" y="1550"/>
                    </a:lnTo>
                    <a:lnTo>
                      <a:pt x="960" y="1600"/>
                    </a:lnTo>
                    <a:lnTo>
                      <a:pt x="962" y="1602"/>
                    </a:lnTo>
                    <a:lnTo>
                      <a:pt x="1120" y="1756"/>
                    </a:lnTo>
                    <a:lnTo>
                      <a:pt x="1280" y="1912"/>
                    </a:lnTo>
                    <a:lnTo>
                      <a:pt x="1438" y="1756"/>
                    </a:lnTo>
                    <a:lnTo>
                      <a:pt x="1598" y="1602"/>
                    </a:lnTo>
                    <a:lnTo>
                      <a:pt x="1600" y="1600"/>
                    </a:lnTo>
                    <a:close/>
                  </a:path>
                </a:pathLst>
              </a:custGeom>
              <a:solidFill>
                <a:srgbClr val="ADB7C3">
                  <a:lumMod val="40000"/>
                  <a:lumOff val="60000"/>
                </a:srgbClr>
              </a:solidFill>
              <a:ln w="38100" cmpd="sng">
                <a:no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marR="0" lvl="0" indent="-45720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ysClr val="windowText" lastClr="000000"/>
                  </a:solidFill>
                  <a:effectLst/>
                  <a:uLnTx/>
                  <a:uFillTx/>
                  <a:latin typeface="Arial"/>
                  <a:ea typeface="+mn-ea"/>
                  <a:cs typeface="+mn-cs"/>
                </a:endParaRPr>
              </a:p>
            </p:txBody>
          </p:sp>
          <p:sp>
            <p:nvSpPr>
              <p:cNvPr id="14" name="Freeform 13"/>
              <p:cNvSpPr>
                <a:spLocks/>
              </p:cNvSpPr>
              <p:nvPr/>
            </p:nvSpPr>
            <p:spPr bwMode="auto">
              <a:xfrm rot="1591251">
                <a:off x="1024218" y="2238316"/>
                <a:ext cx="1440000" cy="1080000"/>
              </a:xfrm>
              <a:custGeom>
                <a:avLst/>
                <a:gdLst/>
                <a:ahLst/>
                <a:cxnLst>
                  <a:cxn ang="0">
                    <a:pos x="0" y="312"/>
                  </a:cxn>
                  <a:cxn ang="0">
                    <a:pos x="8" y="474"/>
                  </a:cxn>
                  <a:cxn ang="0">
                    <a:pos x="32" y="634"/>
                  </a:cxn>
                  <a:cxn ang="0">
                    <a:pos x="72" y="786"/>
                  </a:cxn>
                  <a:cxn ang="0">
                    <a:pos x="126" y="934"/>
                  </a:cxn>
                  <a:cxn ang="0">
                    <a:pos x="192" y="1074"/>
                  </a:cxn>
                  <a:cxn ang="0">
                    <a:pos x="272" y="1206"/>
                  </a:cxn>
                  <a:cxn ang="0">
                    <a:pos x="364" y="1328"/>
                  </a:cxn>
                  <a:cxn ang="0">
                    <a:pos x="468" y="1442"/>
                  </a:cxn>
                  <a:cxn ang="0">
                    <a:pos x="580" y="1546"/>
                  </a:cxn>
                  <a:cxn ang="0">
                    <a:pos x="704" y="1638"/>
                  </a:cxn>
                  <a:cxn ang="0">
                    <a:pos x="836" y="1718"/>
                  </a:cxn>
                  <a:cxn ang="0">
                    <a:pos x="976" y="1784"/>
                  </a:cxn>
                  <a:cxn ang="0">
                    <a:pos x="1122" y="1838"/>
                  </a:cxn>
                  <a:cxn ang="0">
                    <a:pos x="1276" y="1878"/>
                  </a:cxn>
                  <a:cxn ang="0">
                    <a:pos x="1434" y="1902"/>
                  </a:cxn>
                  <a:cxn ang="0">
                    <a:pos x="1598" y="1912"/>
                  </a:cxn>
                  <a:cxn ang="0">
                    <a:pos x="1288" y="1594"/>
                  </a:cxn>
                  <a:cxn ang="0">
                    <a:pos x="1598" y="1276"/>
                  </a:cxn>
                  <a:cxn ang="0">
                    <a:pos x="1600" y="1272"/>
                  </a:cxn>
                  <a:cxn ang="0">
                    <a:pos x="1502" y="1266"/>
                  </a:cxn>
                  <a:cxn ang="0">
                    <a:pos x="1406" y="1252"/>
                  </a:cxn>
                  <a:cxn ang="0">
                    <a:pos x="1314" y="1228"/>
                  </a:cxn>
                  <a:cxn ang="0">
                    <a:pos x="1226" y="1196"/>
                  </a:cxn>
                  <a:cxn ang="0">
                    <a:pos x="1142" y="1156"/>
                  </a:cxn>
                  <a:cxn ang="0">
                    <a:pos x="1064" y="1108"/>
                  </a:cxn>
                  <a:cxn ang="0">
                    <a:pos x="990" y="1052"/>
                  </a:cxn>
                  <a:cxn ang="0">
                    <a:pos x="922" y="990"/>
                  </a:cxn>
                  <a:cxn ang="0">
                    <a:pos x="860" y="922"/>
                  </a:cxn>
                  <a:cxn ang="0">
                    <a:pos x="804" y="848"/>
                  </a:cxn>
                  <a:cxn ang="0">
                    <a:pos x="756" y="770"/>
                  </a:cxn>
                  <a:cxn ang="0">
                    <a:pos x="716" y="686"/>
                  </a:cxn>
                  <a:cxn ang="0">
                    <a:pos x="684" y="598"/>
                  </a:cxn>
                  <a:cxn ang="0">
                    <a:pos x="660" y="504"/>
                  </a:cxn>
                  <a:cxn ang="0">
                    <a:pos x="644" y="410"/>
                  </a:cxn>
                  <a:cxn ang="0">
                    <a:pos x="640" y="312"/>
                  </a:cxn>
                  <a:cxn ang="0">
                    <a:pos x="480" y="154"/>
                  </a:cxn>
                  <a:cxn ang="0">
                    <a:pos x="162" y="154"/>
                  </a:cxn>
                  <a:cxn ang="0">
                    <a:pos x="0" y="312"/>
                  </a:cxn>
                </a:cxnLst>
                <a:rect l="0" t="0" r="r" b="b"/>
                <a:pathLst>
                  <a:path w="1600" h="1912">
                    <a:moveTo>
                      <a:pt x="0" y="312"/>
                    </a:moveTo>
                    <a:lnTo>
                      <a:pt x="0" y="312"/>
                    </a:lnTo>
                    <a:lnTo>
                      <a:pt x="2" y="394"/>
                    </a:lnTo>
                    <a:lnTo>
                      <a:pt x="8" y="474"/>
                    </a:lnTo>
                    <a:lnTo>
                      <a:pt x="18" y="554"/>
                    </a:lnTo>
                    <a:lnTo>
                      <a:pt x="32" y="634"/>
                    </a:lnTo>
                    <a:lnTo>
                      <a:pt x="50" y="712"/>
                    </a:lnTo>
                    <a:lnTo>
                      <a:pt x="72" y="786"/>
                    </a:lnTo>
                    <a:lnTo>
                      <a:pt x="96" y="862"/>
                    </a:lnTo>
                    <a:lnTo>
                      <a:pt x="126" y="934"/>
                    </a:lnTo>
                    <a:lnTo>
                      <a:pt x="158" y="1004"/>
                    </a:lnTo>
                    <a:lnTo>
                      <a:pt x="192" y="1074"/>
                    </a:lnTo>
                    <a:lnTo>
                      <a:pt x="232" y="1140"/>
                    </a:lnTo>
                    <a:lnTo>
                      <a:pt x="272" y="1206"/>
                    </a:lnTo>
                    <a:lnTo>
                      <a:pt x="318" y="1268"/>
                    </a:lnTo>
                    <a:lnTo>
                      <a:pt x="364" y="1328"/>
                    </a:lnTo>
                    <a:lnTo>
                      <a:pt x="414" y="1386"/>
                    </a:lnTo>
                    <a:lnTo>
                      <a:pt x="468" y="1442"/>
                    </a:lnTo>
                    <a:lnTo>
                      <a:pt x="522" y="1496"/>
                    </a:lnTo>
                    <a:lnTo>
                      <a:pt x="580" y="1546"/>
                    </a:lnTo>
                    <a:lnTo>
                      <a:pt x="642" y="1592"/>
                    </a:lnTo>
                    <a:lnTo>
                      <a:pt x="704" y="1638"/>
                    </a:lnTo>
                    <a:lnTo>
                      <a:pt x="768" y="1678"/>
                    </a:lnTo>
                    <a:lnTo>
                      <a:pt x="836" y="1718"/>
                    </a:lnTo>
                    <a:lnTo>
                      <a:pt x="904" y="1752"/>
                    </a:lnTo>
                    <a:lnTo>
                      <a:pt x="976" y="1784"/>
                    </a:lnTo>
                    <a:lnTo>
                      <a:pt x="1048" y="1814"/>
                    </a:lnTo>
                    <a:lnTo>
                      <a:pt x="1122" y="1838"/>
                    </a:lnTo>
                    <a:lnTo>
                      <a:pt x="1198" y="1860"/>
                    </a:lnTo>
                    <a:lnTo>
                      <a:pt x="1276" y="1878"/>
                    </a:lnTo>
                    <a:lnTo>
                      <a:pt x="1354" y="1892"/>
                    </a:lnTo>
                    <a:lnTo>
                      <a:pt x="1434" y="1902"/>
                    </a:lnTo>
                    <a:lnTo>
                      <a:pt x="1514" y="1910"/>
                    </a:lnTo>
                    <a:lnTo>
                      <a:pt x="1598" y="1912"/>
                    </a:lnTo>
                    <a:lnTo>
                      <a:pt x="1442" y="1752"/>
                    </a:lnTo>
                    <a:lnTo>
                      <a:pt x="1288" y="1594"/>
                    </a:lnTo>
                    <a:lnTo>
                      <a:pt x="1442" y="1434"/>
                    </a:lnTo>
                    <a:lnTo>
                      <a:pt x="1598" y="1276"/>
                    </a:lnTo>
                    <a:lnTo>
                      <a:pt x="1600" y="1272"/>
                    </a:lnTo>
                    <a:lnTo>
                      <a:pt x="1600" y="1272"/>
                    </a:lnTo>
                    <a:lnTo>
                      <a:pt x="1550" y="1270"/>
                    </a:lnTo>
                    <a:lnTo>
                      <a:pt x="1502" y="1266"/>
                    </a:lnTo>
                    <a:lnTo>
                      <a:pt x="1454" y="1260"/>
                    </a:lnTo>
                    <a:lnTo>
                      <a:pt x="1406" y="1252"/>
                    </a:lnTo>
                    <a:lnTo>
                      <a:pt x="1360" y="1242"/>
                    </a:lnTo>
                    <a:lnTo>
                      <a:pt x="1314" y="1228"/>
                    </a:lnTo>
                    <a:lnTo>
                      <a:pt x="1270" y="1214"/>
                    </a:lnTo>
                    <a:lnTo>
                      <a:pt x="1226" y="1196"/>
                    </a:lnTo>
                    <a:lnTo>
                      <a:pt x="1184" y="1176"/>
                    </a:lnTo>
                    <a:lnTo>
                      <a:pt x="1142" y="1156"/>
                    </a:lnTo>
                    <a:lnTo>
                      <a:pt x="1102" y="1132"/>
                    </a:lnTo>
                    <a:lnTo>
                      <a:pt x="1064" y="1108"/>
                    </a:lnTo>
                    <a:lnTo>
                      <a:pt x="1026" y="1080"/>
                    </a:lnTo>
                    <a:lnTo>
                      <a:pt x="990" y="1052"/>
                    </a:lnTo>
                    <a:lnTo>
                      <a:pt x="954" y="1022"/>
                    </a:lnTo>
                    <a:lnTo>
                      <a:pt x="922" y="990"/>
                    </a:lnTo>
                    <a:lnTo>
                      <a:pt x="890" y="958"/>
                    </a:lnTo>
                    <a:lnTo>
                      <a:pt x="860" y="922"/>
                    </a:lnTo>
                    <a:lnTo>
                      <a:pt x="830" y="886"/>
                    </a:lnTo>
                    <a:lnTo>
                      <a:pt x="804" y="848"/>
                    </a:lnTo>
                    <a:lnTo>
                      <a:pt x="778" y="810"/>
                    </a:lnTo>
                    <a:lnTo>
                      <a:pt x="756" y="770"/>
                    </a:lnTo>
                    <a:lnTo>
                      <a:pt x="734" y="728"/>
                    </a:lnTo>
                    <a:lnTo>
                      <a:pt x="716" y="686"/>
                    </a:lnTo>
                    <a:lnTo>
                      <a:pt x="698" y="642"/>
                    </a:lnTo>
                    <a:lnTo>
                      <a:pt x="684" y="598"/>
                    </a:lnTo>
                    <a:lnTo>
                      <a:pt x="670" y="552"/>
                    </a:lnTo>
                    <a:lnTo>
                      <a:pt x="660" y="504"/>
                    </a:lnTo>
                    <a:lnTo>
                      <a:pt x="652" y="458"/>
                    </a:lnTo>
                    <a:lnTo>
                      <a:pt x="644" y="410"/>
                    </a:lnTo>
                    <a:lnTo>
                      <a:pt x="642" y="360"/>
                    </a:lnTo>
                    <a:lnTo>
                      <a:pt x="640" y="312"/>
                    </a:lnTo>
                    <a:lnTo>
                      <a:pt x="638" y="310"/>
                    </a:lnTo>
                    <a:lnTo>
                      <a:pt x="480" y="154"/>
                    </a:lnTo>
                    <a:lnTo>
                      <a:pt x="320" y="0"/>
                    </a:lnTo>
                    <a:lnTo>
                      <a:pt x="162" y="154"/>
                    </a:lnTo>
                    <a:lnTo>
                      <a:pt x="2" y="310"/>
                    </a:lnTo>
                    <a:lnTo>
                      <a:pt x="0" y="312"/>
                    </a:lnTo>
                    <a:close/>
                  </a:path>
                </a:pathLst>
              </a:custGeom>
              <a:solidFill>
                <a:srgbClr val="FFFFFF">
                  <a:lumMod val="50000"/>
                </a:srgbClr>
              </a:solidFill>
              <a:ln w="38100" cmpd="sng">
                <a:no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ea typeface="+mn-ea"/>
                  <a:cs typeface="+mn-cs"/>
                </a:endParaRPr>
              </a:p>
            </p:txBody>
          </p:sp>
        </p:grpSp>
      </p:grpSp>
      <p:sp>
        <p:nvSpPr>
          <p:cNvPr id="15" name="TextBox 14"/>
          <p:cNvSpPr txBox="1"/>
          <p:nvPr/>
        </p:nvSpPr>
        <p:spPr>
          <a:xfrm>
            <a:off x="5695178" y="2420888"/>
            <a:ext cx="2215005" cy="261610"/>
          </a:xfrm>
          <a:prstGeom prst="rect">
            <a:avLst/>
          </a:prstGeom>
          <a:noFill/>
        </p:spPr>
        <p:txBody>
          <a:bodyPr wrap="square" rtlCol="0">
            <a:spAutoFit/>
          </a:bodyPr>
          <a:lstStyle/>
          <a:p>
            <a:r>
              <a:rPr lang="en-CA" sz="1100" b="1" dirty="0" smtClean="0"/>
              <a:t>Communicate Risk</a:t>
            </a:r>
            <a:endParaRPr lang="en-CA" sz="1100" b="1" dirty="0"/>
          </a:p>
        </p:txBody>
      </p:sp>
      <p:sp>
        <p:nvSpPr>
          <p:cNvPr id="16" name="TextBox 15"/>
          <p:cNvSpPr txBox="1"/>
          <p:nvPr/>
        </p:nvSpPr>
        <p:spPr>
          <a:xfrm>
            <a:off x="6179049" y="2852936"/>
            <a:ext cx="1496349" cy="261610"/>
          </a:xfrm>
          <a:prstGeom prst="rect">
            <a:avLst/>
          </a:prstGeom>
          <a:noFill/>
        </p:spPr>
        <p:txBody>
          <a:bodyPr wrap="square" rtlCol="0">
            <a:spAutoFit/>
          </a:bodyPr>
          <a:lstStyle/>
          <a:p>
            <a:r>
              <a:rPr lang="en-CA" sz="1100" b="1" dirty="0" smtClean="0"/>
              <a:t>Identify Risk</a:t>
            </a:r>
            <a:endParaRPr lang="en-CA" sz="1100" b="1" dirty="0"/>
          </a:p>
        </p:txBody>
      </p:sp>
      <p:sp>
        <p:nvSpPr>
          <p:cNvPr id="17" name="TextBox 16"/>
          <p:cNvSpPr txBox="1"/>
          <p:nvPr/>
        </p:nvSpPr>
        <p:spPr>
          <a:xfrm rot="18832806">
            <a:off x="6658265" y="3623808"/>
            <a:ext cx="1142663" cy="261610"/>
          </a:xfrm>
          <a:prstGeom prst="rect">
            <a:avLst/>
          </a:prstGeom>
          <a:noFill/>
        </p:spPr>
        <p:txBody>
          <a:bodyPr wrap="square" rtlCol="0">
            <a:spAutoFit/>
          </a:bodyPr>
          <a:lstStyle/>
          <a:p>
            <a:r>
              <a:rPr lang="en-CA" sz="1100" b="1" dirty="0" smtClean="0"/>
              <a:t>Assess Risk</a:t>
            </a:r>
            <a:endParaRPr lang="en-CA" sz="1100" b="1" dirty="0"/>
          </a:p>
        </p:txBody>
      </p:sp>
      <p:sp>
        <p:nvSpPr>
          <p:cNvPr id="18" name="TextBox 17"/>
          <p:cNvSpPr txBox="1"/>
          <p:nvPr/>
        </p:nvSpPr>
        <p:spPr>
          <a:xfrm rot="3334264">
            <a:off x="5549909" y="3507224"/>
            <a:ext cx="1496349" cy="261610"/>
          </a:xfrm>
          <a:prstGeom prst="rect">
            <a:avLst/>
          </a:prstGeom>
          <a:noFill/>
        </p:spPr>
        <p:txBody>
          <a:bodyPr wrap="square" rtlCol="0">
            <a:spAutoFit/>
          </a:bodyPr>
          <a:lstStyle/>
          <a:p>
            <a:r>
              <a:rPr lang="en-CA" sz="1100" b="1" dirty="0" smtClean="0"/>
              <a:t>Mitigate Risk</a:t>
            </a:r>
            <a:endParaRPr lang="en-CA" sz="1100" b="1" dirty="0"/>
          </a:p>
        </p:txBody>
      </p:sp>
      <p:grpSp>
        <p:nvGrpSpPr>
          <p:cNvPr id="7" name="Group 17"/>
          <p:cNvGrpSpPr/>
          <p:nvPr/>
        </p:nvGrpSpPr>
        <p:grpSpPr>
          <a:xfrm>
            <a:off x="4788024" y="5265204"/>
            <a:ext cx="3811661" cy="838201"/>
            <a:chOff x="5008166" y="548680"/>
            <a:chExt cx="3811661" cy="838201"/>
          </a:xfrm>
        </p:grpSpPr>
        <p:sp>
          <p:nvSpPr>
            <p:cNvPr id="20" name="Rounded Rectangle 19"/>
            <p:cNvSpPr/>
            <p:nvPr/>
          </p:nvSpPr>
          <p:spPr>
            <a:xfrm>
              <a:off x="5008166" y="548680"/>
              <a:ext cx="3811661"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914400" algn="l"/>
              <a:r>
                <a:rPr lang="en-CA" sz="1200" dirty="0" smtClean="0">
                  <a:solidFill>
                    <a:schemeClr val="tx1"/>
                  </a:solidFill>
                </a:rPr>
                <a:t>Communication is the all-encompassing activity in risk management. Don’t neglect it, or risk management efforts will fail.</a:t>
              </a:r>
            </a:p>
          </p:txBody>
        </p:sp>
        <p:pic>
          <p:nvPicPr>
            <p:cNvPr id="21" name="Picture 20" descr="insight.png"/>
            <p:cNvPicPr>
              <a:picLocks noChangeAspect="1"/>
            </p:cNvPicPr>
            <p:nvPr/>
          </p:nvPicPr>
          <p:blipFill>
            <a:blip r:embed="rId5" cstate="print"/>
            <a:stretch>
              <a:fillRect/>
            </a:stretch>
          </p:blipFill>
          <p:spPr>
            <a:xfrm>
              <a:off x="5008166" y="548680"/>
              <a:ext cx="1000207" cy="838201"/>
            </a:xfrm>
            <a:prstGeom prst="rect">
              <a:avLst/>
            </a:prstGeom>
          </p:spPr>
        </p:pic>
      </p:grpSp>
      <p:grpSp>
        <p:nvGrpSpPr>
          <p:cNvPr id="8" name="Group 85"/>
          <p:cNvGrpSpPr/>
          <p:nvPr/>
        </p:nvGrpSpPr>
        <p:grpSpPr>
          <a:xfrm>
            <a:off x="8136397" y="332656"/>
            <a:ext cx="684075" cy="684075"/>
            <a:chOff x="2555776" y="3284984"/>
            <a:chExt cx="2556284" cy="2556284"/>
          </a:xfrm>
          <a:solidFill>
            <a:schemeClr val="accent2">
              <a:lumMod val="20000"/>
              <a:lumOff val="80000"/>
            </a:schemeClr>
          </a:solidFill>
        </p:grpSpPr>
        <p:sp>
          <p:nvSpPr>
            <p:cNvPr id="23" name="Oval 22"/>
            <p:cNvSpPr/>
            <p:nvPr>
              <p:custDataLst>
                <p:tags r:id="rId1"/>
              </p:custDataLst>
            </p:nvPr>
          </p:nvSpPr>
          <p:spPr>
            <a:xfrm>
              <a:off x="2555776" y="3284984"/>
              <a:ext cx="2556284" cy="2556284"/>
            </a:xfrm>
            <a:prstGeom prst="ellipse">
              <a:avLst/>
            </a:prstGeom>
            <a:solidFill>
              <a:schemeClr val="accent1">
                <a:lumMod val="40000"/>
                <a:lumOff val="60000"/>
              </a:schemeClr>
            </a:solidFill>
            <a:ln w="12700" cap="flat" cmpd="sng" algn="ctr">
              <a:solidFill>
                <a:schemeClr val="accent1">
                  <a:shade val="50000"/>
                </a:schemeClr>
              </a:solidFill>
              <a:prstDash val="solid"/>
            </a:ln>
            <a:effectLst/>
          </p:spPr>
          <p:txBody>
            <a:bodyPr rtlCol="0" anchor="ctr"/>
            <a:lstStyle/>
            <a:p>
              <a:pPr fontAlgn="auto">
                <a:spcBef>
                  <a:spcPts val="0"/>
                </a:spcBef>
                <a:spcAft>
                  <a:spcPts val="0"/>
                </a:spcAft>
                <a:defRPr/>
              </a:pPr>
              <a:endParaRPr lang="en-CA" kern="0" dirty="0">
                <a:solidFill>
                  <a:srgbClr val="FFFFFF"/>
                </a:solidFill>
                <a:latin typeface="Arial"/>
              </a:endParaRPr>
            </a:p>
          </p:txBody>
        </p:sp>
        <p:grpSp>
          <p:nvGrpSpPr>
            <p:cNvPr id="10" name="Group 35"/>
            <p:cNvGrpSpPr/>
            <p:nvPr/>
          </p:nvGrpSpPr>
          <p:grpSpPr>
            <a:xfrm>
              <a:off x="2706440" y="3658476"/>
              <a:ext cx="2174369" cy="1619105"/>
              <a:chOff x="1024218" y="1778669"/>
              <a:chExt cx="2174369" cy="1619105"/>
            </a:xfrm>
            <a:grpFill/>
          </p:grpSpPr>
          <p:sp>
            <p:nvSpPr>
              <p:cNvPr id="25" name="Oval 24"/>
              <p:cNvSpPr/>
              <p:nvPr/>
            </p:nvSpPr>
            <p:spPr>
              <a:xfrm>
                <a:off x="1554657" y="2269273"/>
                <a:ext cx="1152128" cy="864096"/>
              </a:xfrm>
              <a:prstGeom prst="ellipse">
                <a:avLst/>
              </a:prstGeom>
              <a:grpFill/>
              <a:ln w="12700" cap="flat" cmpd="sng" algn="ctr">
                <a:solidFill>
                  <a:schemeClr val="accent1">
                    <a:shade val="50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endParaRPr lang="en-US" sz="1200" i="1" kern="0" dirty="0">
                  <a:solidFill>
                    <a:srgbClr val="333333"/>
                  </a:solidFill>
                </a:endParaRPr>
              </a:p>
            </p:txBody>
          </p:sp>
          <p:sp>
            <p:nvSpPr>
              <p:cNvPr id="26" name="Freeform 6"/>
              <p:cNvSpPr>
                <a:spLocks/>
              </p:cNvSpPr>
              <p:nvPr/>
            </p:nvSpPr>
            <p:spPr bwMode="auto">
              <a:xfrm rot="20535687">
                <a:off x="1758587" y="2317774"/>
                <a:ext cx="1440000" cy="1080000"/>
              </a:xfrm>
              <a:custGeom>
                <a:avLst/>
                <a:gdLst/>
                <a:ahLst/>
                <a:cxnLst>
                  <a:cxn ang="0">
                    <a:pos x="312" y="1600"/>
                  </a:cxn>
                  <a:cxn ang="0">
                    <a:pos x="476" y="1592"/>
                  </a:cxn>
                  <a:cxn ang="0">
                    <a:pos x="634" y="1566"/>
                  </a:cxn>
                  <a:cxn ang="0">
                    <a:pos x="788" y="1528"/>
                  </a:cxn>
                  <a:cxn ang="0">
                    <a:pos x="934" y="1474"/>
                  </a:cxn>
                  <a:cxn ang="0">
                    <a:pos x="1074" y="1406"/>
                  </a:cxn>
                  <a:cxn ang="0">
                    <a:pos x="1206" y="1326"/>
                  </a:cxn>
                  <a:cxn ang="0">
                    <a:pos x="1330" y="1234"/>
                  </a:cxn>
                  <a:cxn ang="0">
                    <a:pos x="1442" y="1132"/>
                  </a:cxn>
                  <a:cxn ang="0">
                    <a:pos x="1546" y="1018"/>
                  </a:cxn>
                  <a:cxn ang="0">
                    <a:pos x="1638" y="896"/>
                  </a:cxn>
                  <a:cxn ang="0">
                    <a:pos x="1718" y="764"/>
                  </a:cxn>
                  <a:cxn ang="0">
                    <a:pos x="1786" y="624"/>
                  </a:cxn>
                  <a:cxn ang="0">
                    <a:pos x="1840" y="478"/>
                  </a:cxn>
                  <a:cxn ang="0">
                    <a:pos x="1880" y="324"/>
                  </a:cxn>
                  <a:cxn ang="0">
                    <a:pos x="1904" y="166"/>
                  </a:cxn>
                  <a:cxn ang="0">
                    <a:pos x="1912" y="2"/>
                  </a:cxn>
                  <a:cxn ang="0">
                    <a:pos x="1594" y="312"/>
                  </a:cxn>
                  <a:cxn ang="0">
                    <a:pos x="1276" y="2"/>
                  </a:cxn>
                  <a:cxn ang="0">
                    <a:pos x="1272" y="0"/>
                  </a:cxn>
                  <a:cxn ang="0">
                    <a:pos x="1268" y="98"/>
                  </a:cxn>
                  <a:cxn ang="0">
                    <a:pos x="1252" y="192"/>
                  </a:cxn>
                  <a:cxn ang="0">
                    <a:pos x="1228" y="284"/>
                  </a:cxn>
                  <a:cxn ang="0">
                    <a:pos x="1196" y="374"/>
                  </a:cxn>
                  <a:cxn ang="0">
                    <a:pos x="1156" y="458"/>
                  </a:cxn>
                  <a:cxn ang="0">
                    <a:pos x="1108" y="536"/>
                  </a:cxn>
                  <a:cxn ang="0">
                    <a:pos x="1052" y="610"/>
                  </a:cxn>
                  <a:cxn ang="0">
                    <a:pos x="992" y="678"/>
                  </a:cxn>
                  <a:cxn ang="0">
                    <a:pos x="922" y="740"/>
                  </a:cxn>
                  <a:cxn ang="0">
                    <a:pos x="848" y="796"/>
                  </a:cxn>
                  <a:cxn ang="0">
                    <a:pos x="770" y="844"/>
                  </a:cxn>
                  <a:cxn ang="0">
                    <a:pos x="686" y="884"/>
                  </a:cxn>
                  <a:cxn ang="0">
                    <a:pos x="598" y="916"/>
                  </a:cxn>
                  <a:cxn ang="0">
                    <a:pos x="506" y="940"/>
                  </a:cxn>
                  <a:cxn ang="0">
                    <a:pos x="410" y="954"/>
                  </a:cxn>
                  <a:cxn ang="0">
                    <a:pos x="312" y="960"/>
                  </a:cxn>
                  <a:cxn ang="0">
                    <a:pos x="156" y="1120"/>
                  </a:cxn>
                  <a:cxn ang="0">
                    <a:pos x="156" y="1438"/>
                  </a:cxn>
                  <a:cxn ang="0">
                    <a:pos x="312" y="1600"/>
                  </a:cxn>
                </a:cxnLst>
                <a:rect l="0" t="0" r="r" b="b"/>
                <a:pathLst>
                  <a:path w="1912" h="1600">
                    <a:moveTo>
                      <a:pt x="312" y="1600"/>
                    </a:moveTo>
                    <a:lnTo>
                      <a:pt x="312" y="1600"/>
                    </a:lnTo>
                    <a:lnTo>
                      <a:pt x="394" y="1598"/>
                    </a:lnTo>
                    <a:lnTo>
                      <a:pt x="476" y="1592"/>
                    </a:lnTo>
                    <a:lnTo>
                      <a:pt x="556" y="1580"/>
                    </a:lnTo>
                    <a:lnTo>
                      <a:pt x="634" y="1566"/>
                    </a:lnTo>
                    <a:lnTo>
                      <a:pt x="712" y="1550"/>
                    </a:lnTo>
                    <a:lnTo>
                      <a:pt x="788" y="1528"/>
                    </a:lnTo>
                    <a:lnTo>
                      <a:pt x="862" y="1502"/>
                    </a:lnTo>
                    <a:lnTo>
                      <a:pt x="934" y="1474"/>
                    </a:lnTo>
                    <a:lnTo>
                      <a:pt x="1006" y="1442"/>
                    </a:lnTo>
                    <a:lnTo>
                      <a:pt x="1074" y="1406"/>
                    </a:lnTo>
                    <a:lnTo>
                      <a:pt x="1142" y="1368"/>
                    </a:lnTo>
                    <a:lnTo>
                      <a:pt x="1206" y="1326"/>
                    </a:lnTo>
                    <a:lnTo>
                      <a:pt x="1268" y="1282"/>
                    </a:lnTo>
                    <a:lnTo>
                      <a:pt x="1330" y="1234"/>
                    </a:lnTo>
                    <a:lnTo>
                      <a:pt x="1388" y="1184"/>
                    </a:lnTo>
                    <a:lnTo>
                      <a:pt x="1442" y="1132"/>
                    </a:lnTo>
                    <a:lnTo>
                      <a:pt x="1496" y="1076"/>
                    </a:lnTo>
                    <a:lnTo>
                      <a:pt x="1546" y="1018"/>
                    </a:lnTo>
                    <a:lnTo>
                      <a:pt x="1594" y="958"/>
                    </a:lnTo>
                    <a:lnTo>
                      <a:pt x="1638" y="896"/>
                    </a:lnTo>
                    <a:lnTo>
                      <a:pt x="1680" y="830"/>
                    </a:lnTo>
                    <a:lnTo>
                      <a:pt x="1718" y="764"/>
                    </a:lnTo>
                    <a:lnTo>
                      <a:pt x="1754" y="694"/>
                    </a:lnTo>
                    <a:lnTo>
                      <a:pt x="1786" y="624"/>
                    </a:lnTo>
                    <a:lnTo>
                      <a:pt x="1814" y="552"/>
                    </a:lnTo>
                    <a:lnTo>
                      <a:pt x="1840" y="478"/>
                    </a:lnTo>
                    <a:lnTo>
                      <a:pt x="1862" y="402"/>
                    </a:lnTo>
                    <a:lnTo>
                      <a:pt x="1880" y="324"/>
                    </a:lnTo>
                    <a:lnTo>
                      <a:pt x="1894" y="246"/>
                    </a:lnTo>
                    <a:lnTo>
                      <a:pt x="1904" y="166"/>
                    </a:lnTo>
                    <a:lnTo>
                      <a:pt x="1910" y="84"/>
                    </a:lnTo>
                    <a:lnTo>
                      <a:pt x="1912" y="2"/>
                    </a:lnTo>
                    <a:lnTo>
                      <a:pt x="1754" y="158"/>
                    </a:lnTo>
                    <a:lnTo>
                      <a:pt x="1594" y="312"/>
                    </a:lnTo>
                    <a:lnTo>
                      <a:pt x="1436" y="158"/>
                    </a:lnTo>
                    <a:lnTo>
                      <a:pt x="1276" y="2"/>
                    </a:lnTo>
                    <a:lnTo>
                      <a:pt x="1272" y="0"/>
                    </a:lnTo>
                    <a:lnTo>
                      <a:pt x="1272" y="0"/>
                    </a:lnTo>
                    <a:lnTo>
                      <a:pt x="1270" y="48"/>
                    </a:lnTo>
                    <a:lnTo>
                      <a:pt x="1268" y="98"/>
                    </a:lnTo>
                    <a:lnTo>
                      <a:pt x="1260" y="146"/>
                    </a:lnTo>
                    <a:lnTo>
                      <a:pt x="1252" y="192"/>
                    </a:lnTo>
                    <a:lnTo>
                      <a:pt x="1242" y="240"/>
                    </a:lnTo>
                    <a:lnTo>
                      <a:pt x="1228" y="284"/>
                    </a:lnTo>
                    <a:lnTo>
                      <a:pt x="1214" y="330"/>
                    </a:lnTo>
                    <a:lnTo>
                      <a:pt x="1196" y="374"/>
                    </a:lnTo>
                    <a:lnTo>
                      <a:pt x="1178" y="416"/>
                    </a:lnTo>
                    <a:lnTo>
                      <a:pt x="1156" y="458"/>
                    </a:lnTo>
                    <a:lnTo>
                      <a:pt x="1134" y="498"/>
                    </a:lnTo>
                    <a:lnTo>
                      <a:pt x="1108" y="536"/>
                    </a:lnTo>
                    <a:lnTo>
                      <a:pt x="1082" y="574"/>
                    </a:lnTo>
                    <a:lnTo>
                      <a:pt x="1052" y="610"/>
                    </a:lnTo>
                    <a:lnTo>
                      <a:pt x="1022" y="644"/>
                    </a:lnTo>
                    <a:lnTo>
                      <a:pt x="992" y="678"/>
                    </a:lnTo>
                    <a:lnTo>
                      <a:pt x="958" y="710"/>
                    </a:lnTo>
                    <a:lnTo>
                      <a:pt x="922" y="740"/>
                    </a:lnTo>
                    <a:lnTo>
                      <a:pt x="886" y="768"/>
                    </a:lnTo>
                    <a:lnTo>
                      <a:pt x="848" y="796"/>
                    </a:lnTo>
                    <a:lnTo>
                      <a:pt x="810" y="820"/>
                    </a:lnTo>
                    <a:lnTo>
                      <a:pt x="770" y="844"/>
                    </a:lnTo>
                    <a:lnTo>
                      <a:pt x="728" y="864"/>
                    </a:lnTo>
                    <a:lnTo>
                      <a:pt x="686" y="884"/>
                    </a:lnTo>
                    <a:lnTo>
                      <a:pt x="642" y="902"/>
                    </a:lnTo>
                    <a:lnTo>
                      <a:pt x="598" y="916"/>
                    </a:lnTo>
                    <a:lnTo>
                      <a:pt x="552" y="930"/>
                    </a:lnTo>
                    <a:lnTo>
                      <a:pt x="506" y="940"/>
                    </a:lnTo>
                    <a:lnTo>
                      <a:pt x="458" y="948"/>
                    </a:lnTo>
                    <a:lnTo>
                      <a:pt x="410" y="954"/>
                    </a:lnTo>
                    <a:lnTo>
                      <a:pt x="362" y="958"/>
                    </a:lnTo>
                    <a:lnTo>
                      <a:pt x="312" y="960"/>
                    </a:lnTo>
                    <a:lnTo>
                      <a:pt x="310" y="962"/>
                    </a:lnTo>
                    <a:lnTo>
                      <a:pt x="156" y="1120"/>
                    </a:lnTo>
                    <a:lnTo>
                      <a:pt x="0" y="1280"/>
                    </a:lnTo>
                    <a:lnTo>
                      <a:pt x="156" y="1438"/>
                    </a:lnTo>
                    <a:lnTo>
                      <a:pt x="310" y="1596"/>
                    </a:lnTo>
                    <a:lnTo>
                      <a:pt x="312" y="1600"/>
                    </a:lnTo>
                    <a:close/>
                  </a:path>
                </a:pathLst>
              </a:custGeom>
              <a:solidFill>
                <a:schemeClr val="accent2">
                  <a:lumMod val="20000"/>
                  <a:lumOff val="80000"/>
                </a:schemeClr>
              </a:solidFill>
              <a:ln w="12700" cmpd="sng">
                <a:solidFill>
                  <a:schemeClr val="accent1">
                    <a:shade val="5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kern="0" dirty="0">
                  <a:solidFill>
                    <a:sysClr val="windowText" lastClr="000000"/>
                  </a:solidFill>
                </a:endParaRPr>
              </a:p>
            </p:txBody>
          </p:sp>
          <p:sp>
            <p:nvSpPr>
              <p:cNvPr id="27" name="Freeform 26"/>
              <p:cNvSpPr>
                <a:spLocks/>
              </p:cNvSpPr>
              <p:nvPr/>
            </p:nvSpPr>
            <p:spPr bwMode="auto">
              <a:xfrm rot="19822024">
                <a:off x="1485599" y="1778669"/>
                <a:ext cx="1438255" cy="1080000"/>
              </a:xfrm>
              <a:custGeom>
                <a:avLst/>
                <a:gdLst/>
                <a:ahLst/>
                <a:cxnLst>
                  <a:cxn ang="0">
                    <a:pos x="1600" y="1600"/>
                  </a:cxn>
                  <a:cxn ang="0">
                    <a:pos x="1592" y="1436"/>
                  </a:cxn>
                  <a:cxn ang="0">
                    <a:pos x="1568" y="1278"/>
                  </a:cxn>
                  <a:cxn ang="0">
                    <a:pos x="1528" y="1124"/>
                  </a:cxn>
                  <a:cxn ang="0">
                    <a:pos x="1474" y="978"/>
                  </a:cxn>
                  <a:cxn ang="0">
                    <a:pos x="1408" y="838"/>
                  </a:cxn>
                  <a:cxn ang="0">
                    <a:pos x="1328" y="706"/>
                  </a:cxn>
                  <a:cxn ang="0">
                    <a:pos x="1236" y="582"/>
                  </a:cxn>
                  <a:cxn ang="0">
                    <a:pos x="1132" y="470"/>
                  </a:cxn>
                  <a:cxn ang="0">
                    <a:pos x="1020" y="366"/>
                  </a:cxn>
                  <a:cxn ang="0">
                    <a:pos x="896" y="274"/>
                  </a:cxn>
                  <a:cxn ang="0">
                    <a:pos x="764" y="194"/>
                  </a:cxn>
                  <a:cxn ang="0">
                    <a:pos x="624" y="126"/>
                  </a:cxn>
                  <a:cxn ang="0">
                    <a:pos x="478" y="72"/>
                  </a:cxn>
                  <a:cxn ang="0">
                    <a:pos x="324" y="32"/>
                  </a:cxn>
                  <a:cxn ang="0">
                    <a:pos x="166" y="8"/>
                  </a:cxn>
                  <a:cxn ang="0">
                    <a:pos x="2" y="0"/>
                  </a:cxn>
                  <a:cxn ang="0">
                    <a:pos x="312" y="318"/>
                  </a:cxn>
                  <a:cxn ang="0">
                    <a:pos x="2" y="636"/>
                  </a:cxn>
                  <a:cxn ang="0">
                    <a:pos x="0" y="640"/>
                  </a:cxn>
                  <a:cxn ang="0">
                    <a:pos x="98" y="644"/>
                  </a:cxn>
                  <a:cxn ang="0">
                    <a:pos x="194" y="660"/>
                  </a:cxn>
                  <a:cxn ang="0">
                    <a:pos x="286" y="684"/>
                  </a:cxn>
                  <a:cxn ang="0">
                    <a:pos x="374" y="716"/>
                  </a:cxn>
                  <a:cxn ang="0">
                    <a:pos x="458" y="756"/>
                  </a:cxn>
                  <a:cxn ang="0">
                    <a:pos x="536" y="804"/>
                  </a:cxn>
                  <a:cxn ang="0">
                    <a:pos x="610" y="860"/>
                  </a:cxn>
                  <a:cxn ang="0">
                    <a:pos x="678" y="920"/>
                  </a:cxn>
                  <a:cxn ang="0">
                    <a:pos x="740" y="990"/>
                  </a:cxn>
                  <a:cxn ang="0">
                    <a:pos x="796" y="1064"/>
                  </a:cxn>
                  <a:cxn ang="0">
                    <a:pos x="844" y="1142"/>
                  </a:cxn>
                  <a:cxn ang="0">
                    <a:pos x="884" y="1226"/>
                  </a:cxn>
                  <a:cxn ang="0">
                    <a:pos x="916" y="1314"/>
                  </a:cxn>
                  <a:cxn ang="0">
                    <a:pos x="940" y="1406"/>
                  </a:cxn>
                  <a:cxn ang="0">
                    <a:pos x="956" y="1502"/>
                  </a:cxn>
                  <a:cxn ang="0">
                    <a:pos x="960" y="1600"/>
                  </a:cxn>
                  <a:cxn ang="0">
                    <a:pos x="1120" y="1756"/>
                  </a:cxn>
                  <a:cxn ang="0">
                    <a:pos x="1438" y="1756"/>
                  </a:cxn>
                  <a:cxn ang="0">
                    <a:pos x="1600" y="1600"/>
                  </a:cxn>
                </a:cxnLst>
                <a:rect l="0" t="0" r="r" b="b"/>
                <a:pathLst>
                  <a:path w="1600" h="1912">
                    <a:moveTo>
                      <a:pt x="1600" y="1600"/>
                    </a:moveTo>
                    <a:lnTo>
                      <a:pt x="1600" y="1600"/>
                    </a:lnTo>
                    <a:lnTo>
                      <a:pt x="1598" y="1518"/>
                    </a:lnTo>
                    <a:lnTo>
                      <a:pt x="1592" y="1436"/>
                    </a:lnTo>
                    <a:lnTo>
                      <a:pt x="1582" y="1356"/>
                    </a:lnTo>
                    <a:lnTo>
                      <a:pt x="1568" y="1278"/>
                    </a:lnTo>
                    <a:lnTo>
                      <a:pt x="1550" y="1200"/>
                    </a:lnTo>
                    <a:lnTo>
                      <a:pt x="1528" y="1124"/>
                    </a:lnTo>
                    <a:lnTo>
                      <a:pt x="1504" y="1050"/>
                    </a:lnTo>
                    <a:lnTo>
                      <a:pt x="1474" y="978"/>
                    </a:lnTo>
                    <a:lnTo>
                      <a:pt x="1442" y="906"/>
                    </a:lnTo>
                    <a:lnTo>
                      <a:pt x="1408" y="838"/>
                    </a:lnTo>
                    <a:lnTo>
                      <a:pt x="1368" y="770"/>
                    </a:lnTo>
                    <a:lnTo>
                      <a:pt x="1328" y="706"/>
                    </a:lnTo>
                    <a:lnTo>
                      <a:pt x="1282" y="644"/>
                    </a:lnTo>
                    <a:lnTo>
                      <a:pt x="1236" y="582"/>
                    </a:lnTo>
                    <a:lnTo>
                      <a:pt x="1186" y="524"/>
                    </a:lnTo>
                    <a:lnTo>
                      <a:pt x="1132" y="470"/>
                    </a:lnTo>
                    <a:lnTo>
                      <a:pt x="1078" y="416"/>
                    </a:lnTo>
                    <a:lnTo>
                      <a:pt x="1020" y="366"/>
                    </a:lnTo>
                    <a:lnTo>
                      <a:pt x="958" y="318"/>
                    </a:lnTo>
                    <a:lnTo>
                      <a:pt x="896" y="274"/>
                    </a:lnTo>
                    <a:lnTo>
                      <a:pt x="832" y="232"/>
                    </a:lnTo>
                    <a:lnTo>
                      <a:pt x="764" y="194"/>
                    </a:lnTo>
                    <a:lnTo>
                      <a:pt x="696" y="158"/>
                    </a:lnTo>
                    <a:lnTo>
                      <a:pt x="624" y="126"/>
                    </a:lnTo>
                    <a:lnTo>
                      <a:pt x="552" y="98"/>
                    </a:lnTo>
                    <a:lnTo>
                      <a:pt x="478" y="72"/>
                    </a:lnTo>
                    <a:lnTo>
                      <a:pt x="402" y="50"/>
                    </a:lnTo>
                    <a:lnTo>
                      <a:pt x="324" y="32"/>
                    </a:lnTo>
                    <a:lnTo>
                      <a:pt x="246" y="18"/>
                    </a:lnTo>
                    <a:lnTo>
                      <a:pt x="166" y="8"/>
                    </a:lnTo>
                    <a:lnTo>
                      <a:pt x="86" y="2"/>
                    </a:lnTo>
                    <a:lnTo>
                      <a:pt x="2" y="0"/>
                    </a:lnTo>
                    <a:lnTo>
                      <a:pt x="158" y="158"/>
                    </a:lnTo>
                    <a:lnTo>
                      <a:pt x="312" y="318"/>
                    </a:lnTo>
                    <a:lnTo>
                      <a:pt x="158" y="476"/>
                    </a:lnTo>
                    <a:lnTo>
                      <a:pt x="2" y="636"/>
                    </a:lnTo>
                    <a:lnTo>
                      <a:pt x="0" y="640"/>
                    </a:lnTo>
                    <a:lnTo>
                      <a:pt x="0" y="640"/>
                    </a:lnTo>
                    <a:lnTo>
                      <a:pt x="50" y="642"/>
                    </a:lnTo>
                    <a:lnTo>
                      <a:pt x="98" y="644"/>
                    </a:lnTo>
                    <a:lnTo>
                      <a:pt x="146" y="652"/>
                    </a:lnTo>
                    <a:lnTo>
                      <a:pt x="194" y="660"/>
                    </a:lnTo>
                    <a:lnTo>
                      <a:pt x="240" y="670"/>
                    </a:lnTo>
                    <a:lnTo>
                      <a:pt x="286" y="684"/>
                    </a:lnTo>
                    <a:lnTo>
                      <a:pt x="330" y="698"/>
                    </a:lnTo>
                    <a:lnTo>
                      <a:pt x="374" y="716"/>
                    </a:lnTo>
                    <a:lnTo>
                      <a:pt x="416" y="734"/>
                    </a:lnTo>
                    <a:lnTo>
                      <a:pt x="458" y="756"/>
                    </a:lnTo>
                    <a:lnTo>
                      <a:pt x="498" y="778"/>
                    </a:lnTo>
                    <a:lnTo>
                      <a:pt x="536" y="804"/>
                    </a:lnTo>
                    <a:lnTo>
                      <a:pt x="574" y="830"/>
                    </a:lnTo>
                    <a:lnTo>
                      <a:pt x="610" y="860"/>
                    </a:lnTo>
                    <a:lnTo>
                      <a:pt x="646" y="890"/>
                    </a:lnTo>
                    <a:lnTo>
                      <a:pt x="678" y="920"/>
                    </a:lnTo>
                    <a:lnTo>
                      <a:pt x="710" y="954"/>
                    </a:lnTo>
                    <a:lnTo>
                      <a:pt x="740" y="990"/>
                    </a:lnTo>
                    <a:lnTo>
                      <a:pt x="770" y="1026"/>
                    </a:lnTo>
                    <a:lnTo>
                      <a:pt x="796" y="1064"/>
                    </a:lnTo>
                    <a:lnTo>
                      <a:pt x="822" y="1102"/>
                    </a:lnTo>
                    <a:lnTo>
                      <a:pt x="844" y="1142"/>
                    </a:lnTo>
                    <a:lnTo>
                      <a:pt x="866" y="1184"/>
                    </a:lnTo>
                    <a:lnTo>
                      <a:pt x="884" y="1226"/>
                    </a:lnTo>
                    <a:lnTo>
                      <a:pt x="902" y="1270"/>
                    </a:lnTo>
                    <a:lnTo>
                      <a:pt x="916" y="1314"/>
                    </a:lnTo>
                    <a:lnTo>
                      <a:pt x="930" y="1360"/>
                    </a:lnTo>
                    <a:lnTo>
                      <a:pt x="940" y="1406"/>
                    </a:lnTo>
                    <a:lnTo>
                      <a:pt x="948" y="1454"/>
                    </a:lnTo>
                    <a:lnTo>
                      <a:pt x="956" y="1502"/>
                    </a:lnTo>
                    <a:lnTo>
                      <a:pt x="958" y="1550"/>
                    </a:lnTo>
                    <a:lnTo>
                      <a:pt x="960" y="1600"/>
                    </a:lnTo>
                    <a:lnTo>
                      <a:pt x="962" y="1602"/>
                    </a:lnTo>
                    <a:lnTo>
                      <a:pt x="1120" y="1756"/>
                    </a:lnTo>
                    <a:lnTo>
                      <a:pt x="1280" y="1912"/>
                    </a:lnTo>
                    <a:lnTo>
                      <a:pt x="1438" y="1756"/>
                    </a:lnTo>
                    <a:lnTo>
                      <a:pt x="1598" y="1602"/>
                    </a:lnTo>
                    <a:lnTo>
                      <a:pt x="1600" y="1600"/>
                    </a:lnTo>
                    <a:close/>
                  </a:path>
                </a:pathLst>
              </a:custGeom>
              <a:solidFill>
                <a:schemeClr val="accent2">
                  <a:lumMod val="20000"/>
                  <a:lumOff val="80000"/>
                </a:schemeClr>
              </a:solidFill>
              <a:ln w="12700" cmpd="sng">
                <a:solidFill>
                  <a:schemeClr val="accent1">
                    <a:shade val="5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fontAlgn="auto">
                  <a:spcBef>
                    <a:spcPts val="0"/>
                  </a:spcBef>
                  <a:spcAft>
                    <a:spcPts val="0"/>
                  </a:spcAft>
                  <a:defRPr/>
                </a:pPr>
                <a:endParaRPr lang="en-CA" kern="0" dirty="0">
                  <a:solidFill>
                    <a:sysClr val="windowText" lastClr="000000"/>
                  </a:solidFill>
                </a:endParaRPr>
              </a:p>
            </p:txBody>
          </p:sp>
          <p:sp>
            <p:nvSpPr>
              <p:cNvPr id="28" name="Freeform 27"/>
              <p:cNvSpPr>
                <a:spLocks/>
              </p:cNvSpPr>
              <p:nvPr/>
            </p:nvSpPr>
            <p:spPr bwMode="auto">
              <a:xfrm rot="1591251">
                <a:off x="1024218" y="2238316"/>
                <a:ext cx="1440000" cy="1080000"/>
              </a:xfrm>
              <a:custGeom>
                <a:avLst/>
                <a:gdLst/>
                <a:ahLst/>
                <a:cxnLst>
                  <a:cxn ang="0">
                    <a:pos x="0" y="312"/>
                  </a:cxn>
                  <a:cxn ang="0">
                    <a:pos x="8" y="474"/>
                  </a:cxn>
                  <a:cxn ang="0">
                    <a:pos x="32" y="634"/>
                  </a:cxn>
                  <a:cxn ang="0">
                    <a:pos x="72" y="786"/>
                  </a:cxn>
                  <a:cxn ang="0">
                    <a:pos x="126" y="934"/>
                  </a:cxn>
                  <a:cxn ang="0">
                    <a:pos x="192" y="1074"/>
                  </a:cxn>
                  <a:cxn ang="0">
                    <a:pos x="272" y="1206"/>
                  </a:cxn>
                  <a:cxn ang="0">
                    <a:pos x="364" y="1328"/>
                  </a:cxn>
                  <a:cxn ang="0">
                    <a:pos x="468" y="1442"/>
                  </a:cxn>
                  <a:cxn ang="0">
                    <a:pos x="580" y="1546"/>
                  </a:cxn>
                  <a:cxn ang="0">
                    <a:pos x="704" y="1638"/>
                  </a:cxn>
                  <a:cxn ang="0">
                    <a:pos x="836" y="1718"/>
                  </a:cxn>
                  <a:cxn ang="0">
                    <a:pos x="976" y="1784"/>
                  </a:cxn>
                  <a:cxn ang="0">
                    <a:pos x="1122" y="1838"/>
                  </a:cxn>
                  <a:cxn ang="0">
                    <a:pos x="1276" y="1878"/>
                  </a:cxn>
                  <a:cxn ang="0">
                    <a:pos x="1434" y="1902"/>
                  </a:cxn>
                  <a:cxn ang="0">
                    <a:pos x="1598" y="1912"/>
                  </a:cxn>
                  <a:cxn ang="0">
                    <a:pos x="1288" y="1594"/>
                  </a:cxn>
                  <a:cxn ang="0">
                    <a:pos x="1598" y="1276"/>
                  </a:cxn>
                  <a:cxn ang="0">
                    <a:pos x="1600" y="1272"/>
                  </a:cxn>
                  <a:cxn ang="0">
                    <a:pos x="1502" y="1266"/>
                  </a:cxn>
                  <a:cxn ang="0">
                    <a:pos x="1406" y="1252"/>
                  </a:cxn>
                  <a:cxn ang="0">
                    <a:pos x="1314" y="1228"/>
                  </a:cxn>
                  <a:cxn ang="0">
                    <a:pos x="1226" y="1196"/>
                  </a:cxn>
                  <a:cxn ang="0">
                    <a:pos x="1142" y="1156"/>
                  </a:cxn>
                  <a:cxn ang="0">
                    <a:pos x="1064" y="1108"/>
                  </a:cxn>
                  <a:cxn ang="0">
                    <a:pos x="990" y="1052"/>
                  </a:cxn>
                  <a:cxn ang="0">
                    <a:pos x="922" y="990"/>
                  </a:cxn>
                  <a:cxn ang="0">
                    <a:pos x="860" y="922"/>
                  </a:cxn>
                  <a:cxn ang="0">
                    <a:pos x="804" y="848"/>
                  </a:cxn>
                  <a:cxn ang="0">
                    <a:pos x="756" y="770"/>
                  </a:cxn>
                  <a:cxn ang="0">
                    <a:pos x="716" y="686"/>
                  </a:cxn>
                  <a:cxn ang="0">
                    <a:pos x="684" y="598"/>
                  </a:cxn>
                  <a:cxn ang="0">
                    <a:pos x="660" y="504"/>
                  </a:cxn>
                  <a:cxn ang="0">
                    <a:pos x="644" y="410"/>
                  </a:cxn>
                  <a:cxn ang="0">
                    <a:pos x="640" y="312"/>
                  </a:cxn>
                  <a:cxn ang="0">
                    <a:pos x="480" y="154"/>
                  </a:cxn>
                  <a:cxn ang="0">
                    <a:pos x="162" y="154"/>
                  </a:cxn>
                  <a:cxn ang="0">
                    <a:pos x="0" y="312"/>
                  </a:cxn>
                </a:cxnLst>
                <a:rect l="0" t="0" r="r" b="b"/>
                <a:pathLst>
                  <a:path w="1600" h="1912">
                    <a:moveTo>
                      <a:pt x="0" y="312"/>
                    </a:moveTo>
                    <a:lnTo>
                      <a:pt x="0" y="312"/>
                    </a:lnTo>
                    <a:lnTo>
                      <a:pt x="2" y="394"/>
                    </a:lnTo>
                    <a:lnTo>
                      <a:pt x="8" y="474"/>
                    </a:lnTo>
                    <a:lnTo>
                      <a:pt x="18" y="554"/>
                    </a:lnTo>
                    <a:lnTo>
                      <a:pt x="32" y="634"/>
                    </a:lnTo>
                    <a:lnTo>
                      <a:pt x="50" y="712"/>
                    </a:lnTo>
                    <a:lnTo>
                      <a:pt x="72" y="786"/>
                    </a:lnTo>
                    <a:lnTo>
                      <a:pt x="96" y="862"/>
                    </a:lnTo>
                    <a:lnTo>
                      <a:pt x="126" y="934"/>
                    </a:lnTo>
                    <a:lnTo>
                      <a:pt x="158" y="1004"/>
                    </a:lnTo>
                    <a:lnTo>
                      <a:pt x="192" y="1074"/>
                    </a:lnTo>
                    <a:lnTo>
                      <a:pt x="232" y="1140"/>
                    </a:lnTo>
                    <a:lnTo>
                      <a:pt x="272" y="1206"/>
                    </a:lnTo>
                    <a:lnTo>
                      <a:pt x="318" y="1268"/>
                    </a:lnTo>
                    <a:lnTo>
                      <a:pt x="364" y="1328"/>
                    </a:lnTo>
                    <a:lnTo>
                      <a:pt x="414" y="1386"/>
                    </a:lnTo>
                    <a:lnTo>
                      <a:pt x="468" y="1442"/>
                    </a:lnTo>
                    <a:lnTo>
                      <a:pt x="522" y="1496"/>
                    </a:lnTo>
                    <a:lnTo>
                      <a:pt x="580" y="1546"/>
                    </a:lnTo>
                    <a:lnTo>
                      <a:pt x="642" y="1592"/>
                    </a:lnTo>
                    <a:lnTo>
                      <a:pt x="704" y="1638"/>
                    </a:lnTo>
                    <a:lnTo>
                      <a:pt x="768" y="1678"/>
                    </a:lnTo>
                    <a:lnTo>
                      <a:pt x="836" y="1718"/>
                    </a:lnTo>
                    <a:lnTo>
                      <a:pt x="904" y="1752"/>
                    </a:lnTo>
                    <a:lnTo>
                      <a:pt x="976" y="1784"/>
                    </a:lnTo>
                    <a:lnTo>
                      <a:pt x="1048" y="1814"/>
                    </a:lnTo>
                    <a:lnTo>
                      <a:pt x="1122" y="1838"/>
                    </a:lnTo>
                    <a:lnTo>
                      <a:pt x="1198" y="1860"/>
                    </a:lnTo>
                    <a:lnTo>
                      <a:pt x="1276" y="1878"/>
                    </a:lnTo>
                    <a:lnTo>
                      <a:pt x="1354" y="1892"/>
                    </a:lnTo>
                    <a:lnTo>
                      <a:pt x="1434" y="1902"/>
                    </a:lnTo>
                    <a:lnTo>
                      <a:pt x="1514" y="1910"/>
                    </a:lnTo>
                    <a:lnTo>
                      <a:pt x="1598" y="1912"/>
                    </a:lnTo>
                    <a:lnTo>
                      <a:pt x="1442" y="1752"/>
                    </a:lnTo>
                    <a:lnTo>
                      <a:pt x="1288" y="1594"/>
                    </a:lnTo>
                    <a:lnTo>
                      <a:pt x="1442" y="1434"/>
                    </a:lnTo>
                    <a:lnTo>
                      <a:pt x="1598" y="1276"/>
                    </a:lnTo>
                    <a:lnTo>
                      <a:pt x="1600" y="1272"/>
                    </a:lnTo>
                    <a:lnTo>
                      <a:pt x="1600" y="1272"/>
                    </a:lnTo>
                    <a:lnTo>
                      <a:pt x="1550" y="1270"/>
                    </a:lnTo>
                    <a:lnTo>
                      <a:pt x="1502" y="1266"/>
                    </a:lnTo>
                    <a:lnTo>
                      <a:pt x="1454" y="1260"/>
                    </a:lnTo>
                    <a:lnTo>
                      <a:pt x="1406" y="1252"/>
                    </a:lnTo>
                    <a:lnTo>
                      <a:pt x="1360" y="1242"/>
                    </a:lnTo>
                    <a:lnTo>
                      <a:pt x="1314" y="1228"/>
                    </a:lnTo>
                    <a:lnTo>
                      <a:pt x="1270" y="1214"/>
                    </a:lnTo>
                    <a:lnTo>
                      <a:pt x="1226" y="1196"/>
                    </a:lnTo>
                    <a:lnTo>
                      <a:pt x="1184" y="1176"/>
                    </a:lnTo>
                    <a:lnTo>
                      <a:pt x="1142" y="1156"/>
                    </a:lnTo>
                    <a:lnTo>
                      <a:pt x="1102" y="1132"/>
                    </a:lnTo>
                    <a:lnTo>
                      <a:pt x="1064" y="1108"/>
                    </a:lnTo>
                    <a:lnTo>
                      <a:pt x="1026" y="1080"/>
                    </a:lnTo>
                    <a:lnTo>
                      <a:pt x="990" y="1052"/>
                    </a:lnTo>
                    <a:lnTo>
                      <a:pt x="954" y="1022"/>
                    </a:lnTo>
                    <a:lnTo>
                      <a:pt x="922" y="990"/>
                    </a:lnTo>
                    <a:lnTo>
                      <a:pt x="890" y="958"/>
                    </a:lnTo>
                    <a:lnTo>
                      <a:pt x="860" y="922"/>
                    </a:lnTo>
                    <a:lnTo>
                      <a:pt x="830" y="886"/>
                    </a:lnTo>
                    <a:lnTo>
                      <a:pt x="804" y="848"/>
                    </a:lnTo>
                    <a:lnTo>
                      <a:pt x="778" y="810"/>
                    </a:lnTo>
                    <a:lnTo>
                      <a:pt x="756" y="770"/>
                    </a:lnTo>
                    <a:lnTo>
                      <a:pt x="734" y="728"/>
                    </a:lnTo>
                    <a:lnTo>
                      <a:pt x="716" y="686"/>
                    </a:lnTo>
                    <a:lnTo>
                      <a:pt x="698" y="642"/>
                    </a:lnTo>
                    <a:lnTo>
                      <a:pt x="684" y="598"/>
                    </a:lnTo>
                    <a:lnTo>
                      <a:pt x="670" y="552"/>
                    </a:lnTo>
                    <a:lnTo>
                      <a:pt x="660" y="504"/>
                    </a:lnTo>
                    <a:lnTo>
                      <a:pt x="652" y="458"/>
                    </a:lnTo>
                    <a:lnTo>
                      <a:pt x="644" y="410"/>
                    </a:lnTo>
                    <a:lnTo>
                      <a:pt x="642" y="360"/>
                    </a:lnTo>
                    <a:lnTo>
                      <a:pt x="640" y="312"/>
                    </a:lnTo>
                    <a:lnTo>
                      <a:pt x="638" y="310"/>
                    </a:lnTo>
                    <a:lnTo>
                      <a:pt x="480" y="154"/>
                    </a:lnTo>
                    <a:lnTo>
                      <a:pt x="320" y="0"/>
                    </a:lnTo>
                    <a:lnTo>
                      <a:pt x="162" y="154"/>
                    </a:lnTo>
                    <a:lnTo>
                      <a:pt x="2" y="310"/>
                    </a:lnTo>
                    <a:lnTo>
                      <a:pt x="0" y="312"/>
                    </a:lnTo>
                    <a:close/>
                  </a:path>
                </a:pathLst>
              </a:custGeom>
              <a:solidFill>
                <a:schemeClr val="accent2">
                  <a:lumMod val="20000"/>
                  <a:lumOff val="80000"/>
                </a:schemeClr>
              </a:solidFill>
              <a:ln w="12700" cmpd="sng">
                <a:solidFill>
                  <a:schemeClr val="accent1">
                    <a:shade val="5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kern="0" dirty="0">
                  <a:solidFill>
                    <a:sysClr val="windowText" lastClr="000000"/>
                  </a:solidFill>
                </a:endParaRPr>
              </a:p>
            </p:txBody>
          </p:sp>
        </p:grpSp>
      </p:grpSp>
    </p:spTree>
    <p:extLst>
      <p:ext uri="{BB962C8B-B14F-4D97-AF65-F5344CB8AC3E}">
        <p14:creationId xmlns:p14="http://schemas.microsoft.com/office/powerpoint/2010/main" val="1935405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08580" name="Picture 4"/>
          <p:cNvPicPr>
            <a:picLocks noChangeAspect="1" noChangeArrowheads="1"/>
          </p:cNvPicPr>
          <p:nvPr>
            <p:custDataLst>
              <p:tags r:id="rId3"/>
            </p:custDataLst>
          </p:nvPr>
        </p:nvPicPr>
        <p:blipFill>
          <a:blip r:embed="rId18" cstate="print"/>
          <a:srcRect/>
          <a:stretch>
            <a:fillRect/>
          </a:stretch>
        </p:blipFill>
        <p:spPr bwMode="auto">
          <a:xfrm>
            <a:off x="4658936" y="2636904"/>
            <a:ext cx="4197540" cy="3708420"/>
          </a:xfrm>
          <a:prstGeom prst="rect">
            <a:avLst/>
          </a:prstGeom>
          <a:noFill/>
          <a:ln w="9525">
            <a:noFill/>
            <a:miter lim="800000"/>
            <a:headEnd/>
            <a:tailEnd/>
          </a:ln>
        </p:spPr>
      </p:pic>
      <p:sp>
        <p:nvSpPr>
          <p:cNvPr id="4" name="Text Placeholder 3"/>
          <p:cNvSpPr>
            <a:spLocks noGrp="1"/>
          </p:cNvSpPr>
          <p:nvPr>
            <p:ph type="body" sz="quarter" idx="16"/>
            <p:custDataLst>
              <p:tags r:id="rId4"/>
            </p:custDataLst>
          </p:nvPr>
        </p:nvSpPr>
        <p:spPr>
          <a:xfrm>
            <a:off x="246859" y="1398406"/>
            <a:ext cx="4372872" cy="3092708"/>
          </a:xfrm>
        </p:spPr>
        <p:txBody>
          <a:bodyPr anchor="t" anchorCtr="0"/>
          <a:lstStyle/>
          <a:p>
            <a:pPr marL="0" indent="0">
              <a:buNone/>
            </a:pPr>
            <a:r>
              <a:rPr lang="en-CA" b="1" dirty="0" smtClean="0"/>
              <a:t>Use the </a:t>
            </a:r>
            <a:r>
              <a:rPr lang="en-CA" b="1" dirty="0" smtClean="0">
                <a:hlinkClick r:id="rId19"/>
              </a:rPr>
              <a:t>WCO IT Risk Profile Tool</a:t>
            </a:r>
            <a:r>
              <a:rPr lang="en-CA" b="1" dirty="0" smtClean="0"/>
              <a:t> </a:t>
            </a:r>
            <a:r>
              <a:rPr lang="en-CA" dirty="0" smtClean="0"/>
              <a:t>to show the business how each risk scenario is impacting the organization along with action plans to follow at a high level.</a:t>
            </a:r>
          </a:p>
          <a:p>
            <a:pPr marL="0" indent="0">
              <a:buNone/>
            </a:pPr>
            <a:r>
              <a:rPr lang="en-CA" dirty="0" smtClean="0"/>
              <a:t/>
            </a:r>
            <a:br>
              <a:rPr lang="en-CA" dirty="0" smtClean="0"/>
            </a:br>
            <a:r>
              <a:rPr lang="en-CA" b="1" dirty="0" smtClean="0"/>
              <a:t>Use this tab to show the business that IT has done their homework.</a:t>
            </a:r>
            <a:r>
              <a:rPr lang="en-CA" dirty="0" smtClean="0"/>
              <a:t> Showing the business where the organization faces the greatest severity of risk, and recommended actions at a high level is another step in communicating risk. When the business sees IT is prepared with dashboards, they will have more confidence in IT for targeting the correct risks with the appropriate mitigation strategies for each risk. This will increase the business’ chances of funding, and supporting mitigation efforts.</a:t>
            </a:r>
          </a:p>
        </p:txBody>
      </p:sp>
      <p:sp>
        <p:nvSpPr>
          <p:cNvPr id="8" name="Title 2"/>
          <p:cNvSpPr>
            <a:spLocks noGrp="1"/>
          </p:cNvSpPr>
          <p:nvPr>
            <p:ph type="title"/>
            <p:custDataLst>
              <p:tags r:id="rId5"/>
            </p:custDataLst>
          </p:nvPr>
        </p:nvSpPr>
        <p:spPr>
          <a:xfrm>
            <a:off x="185732" y="245368"/>
            <a:ext cx="8226864" cy="864096"/>
          </a:xfrm>
        </p:spPr>
        <p:txBody>
          <a:bodyPr/>
          <a:lstStyle/>
          <a:p>
            <a:r>
              <a:rPr lang="en-CA" dirty="0" smtClean="0"/>
              <a:t>Present the breakdown of risk to the business using the dashboards in Info-Tech’s </a:t>
            </a:r>
            <a:r>
              <a:rPr lang="en-CA" dirty="0" smtClean="0">
                <a:hlinkClick r:id="rId19"/>
              </a:rPr>
              <a:t>WCO IT Risk Profile Tool</a:t>
            </a:r>
            <a:endParaRPr lang="en-CA" dirty="0"/>
          </a:p>
        </p:txBody>
      </p:sp>
      <p:pic>
        <p:nvPicPr>
          <p:cNvPr id="9" name="Picture 8" descr="tool.wmf"/>
          <p:cNvPicPr>
            <a:picLocks noChangeAspect="1"/>
          </p:cNvPicPr>
          <p:nvPr>
            <p:custDataLst>
              <p:tags r:id="rId6"/>
            </p:custDataLst>
          </p:nvPr>
        </p:nvPicPr>
        <p:blipFill>
          <a:blip r:embed="rId20" cstate="print"/>
          <a:stretch>
            <a:fillRect/>
          </a:stretch>
        </p:blipFill>
        <p:spPr>
          <a:xfrm>
            <a:off x="7657256" y="395340"/>
            <a:ext cx="633902" cy="614790"/>
          </a:xfrm>
          <a:prstGeom prst="rect">
            <a:avLst/>
          </a:prstGeom>
        </p:spPr>
      </p:pic>
      <p:sp>
        <p:nvSpPr>
          <p:cNvPr id="18" name="Rounded Rectangle 17"/>
          <p:cNvSpPr/>
          <p:nvPr>
            <p:custDataLst>
              <p:tags r:id="rId7"/>
            </p:custDataLst>
          </p:nvPr>
        </p:nvSpPr>
        <p:spPr>
          <a:xfrm>
            <a:off x="8028384" y="6255324"/>
            <a:ext cx="450000" cy="90000"/>
          </a:xfrm>
          <a:prstGeom prst="roundRect">
            <a:avLst/>
          </a:prstGeom>
          <a:noFill/>
          <a:ln w="254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Bent-Up Arrow 25"/>
          <p:cNvSpPr/>
          <p:nvPr>
            <p:custDataLst>
              <p:tags r:id="rId8"/>
            </p:custDataLst>
          </p:nvPr>
        </p:nvSpPr>
        <p:spPr>
          <a:xfrm rot="5400000">
            <a:off x="5670122" y="4053124"/>
            <a:ext cx="498110" cy="4218414"/>
          </a:xfrm>
          <a:prstGeom prst="bentUpArrow">
            <a:avLst>
              <a:gd name="adj1" fmla="val 17362"/>
              <a:gd name="adj2" fmla="val 22593"/>
              <a:gd name="adj3" fmla="val 31806"/>
            </a:avLst>
          </a:prstGeom>
          <a:solidFill>
            <a:srgbClr val="D17D08"/>
          </a:solidFill>
          <a:ln>
            <a:solidFill>
              <a:srgbClr val="2240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custDataLst>
              <p:tags r:id="rId9"/>
            </p:custDataLst>
          </p:nvPr>
        </p:nvSpPr>
        <p:spPr>
          <a:xfrm>
            <a:off x="2447764" y="5175276"/>
            <a:ext cx="2174410" cy="738000"/>
          </a:xfrm>
          <a:prstGeom prst="rect">
            <a:avLst/>
          </a:prstGeom>
          <a:solidFill>
            <a:srgbClr val="224061"/>
          </a:solidFill>
          <a:ln>
            <a:noFill/>
          </a:ln>
          <a:effectLst>
            <a:outerShdw blurRad="50800" dist="38100" dir="2700000" algn="tl" rotWithShape="0">
              <a:prstClr val="black">
                <a:alpha val="40000"/>
              </a:prstClr>
            </a:outerShdw>
          </a:effectLst>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Please ensure you are using the table on the tab labeled “6. Dashboards”.</a:t>
            </a:r>
          </a:p>
        </p:txBody>
      </p:sp>
      <p:grpSp>
        <p:nvGrpSpPr>
          <p:cNvPr id="5" name="Group 85"/>
          <p:cNvGrpSpPr/>
          <p:nvPr>
            <p:custDataLst>
              <p:tags r:id="rId10"/>
            </p:custDataLst>
          </p:nvPr>
        </p:nvGrpSpPr>
        <p:grpSpPr>
          <a:xfrm>
            <a:off x="8236408" y="335379"/>
            <a:ext cx="684075" cy="684075"/>
            <a:chOff x="2555776" y="3284984"/>
            <a:chExt cx="2556284" cy="2556284"/>
          </a:xfrm>
          <a:solidFill>
            <a:schemeClr val="accent2">
              <a:lumMod val="20000"/>
              <a:lumOff val="80000"/>
            </a:schemeClr>
          </a:solidFill>
        </p:grpSpPr>
        <p:sp>
          <p:nvSpPr>
            <p:cNvPr id="22" name="Oval 21"/>
            <p:cNvSpPr/>
            <p:nvPr>
              <p:custDataLst>
                <p:tags r:id="rId13"/>
              </p:custDataLst>
            </p:nvPr>
          </p:nvSpPr>
          <p:spPr>
            <a:xfrm>
              <a:off x="2555776" y="3284984"/>
              <a:ext cx="2556284" cy="2556284"/>
            </a:xfrm>
            <a:prstGeom prst="ellipse">
              <a:avLst/>
            </a:prstGeom>
            <a:solidFill>
              <a:schemeClr val="accent1">
                <a:lumMod val="40000"/>
                <a:lumOff val="60000"/>
              </a:schemeClr>
            </a:solidFill>
            <a:ln w="12700" cap="flat" cmpd="sng" algn="ctr">
              <a:solidFill>
                <a:schemeClr val="accent1">
                  <a:shade val="50000"/>
                </a:schemeClr>
              </a:solidFill>
              <a:prstDash val="solid"/>
            </a:ln>
            <a:effectLst/>
          </p:spPr>
          <p:txBody>
            <a:bodyPr rtlCol="0" anchor="ctr"/>
            <a:lstStyle/>
            <a:p>
              <a:pPr fontAlgn="auto">
                <a:spcBef>
                  <a:spcPts val="0"/>
                </a:spcBef>
                <a:spcAft>
                  <a:spcPts val="0"/>
                </a:spcAft>
                <a:defRPr/>
              </a:pPr>
              <a:endParaRPr lang="en-CA" kern="0" dirty="0">
                <a:solidFill>
                  <a:srgbClr val="FFFFFF"/>
                </a:solidFill>
                <a:latin typeface="Arial"/>
              </a:endParaRPr>
            </a:p>
          </p:txBody>
        </p:sp>
        <p:grpSp>
          <p:nvGrpSpPr>
            <p:cNvPr id="6" name="Group 35"/>
            <p:cNvGrpSpPr/>
            <p:nvPr/>
          </p:nvGrpSpPr>
          <p:grpSpPr>
            <a:xfrm>
              <a:off x="2706440" y="3658476"/>
              <a:ext cx="2174369" cy="1619105"/>
              <a:chOff x="1024218" y="1778669"/>
              <a:chExt cx="2174369" cy="1619105"/>
            </a:xfrm>
            <a:grpFill/>
          </p:grpSpPr>
          <p:sp>
            <p:nvSpPr>
              <p:cNvPr id="25" name="Oval 24"/>
              <p:cNvSpPr/>
              <p:nvPr/>
            </p:nvSpPr>
            <p:spPr>
              <a:xfrm>
                <a:off x="1554657" y="2269273"/>
                <a:ext cx="1152128" cy="864096"/>
              </a:xfrm>
              <a:prstGeom prst="ellipse">
                <a:avLst/>
              </a:prstGeom>
              <a:grpFill/>
              <a:ln w="12700" cap="flat" cmpd="sng" algn="ctr">
                <a:solidFill>
                  <a:schemeClr val="accent1">
                    <a:shade val="50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endParaRPr lang="en-US" sz="1200" i="1" kern="0" dirty="0">
                  <a:solidFill>
                    <a:srgbClr val="333333"/>
                  </a:solidFill>
                </a:endParaRPr>
              </a:p>
            </p:txBody>
          </p:sp>
          <p:sp>
            <p:nvSpPr>
              <p:cNvPr id="27" name="Freeform 6"/>
              <p:cNvSpPr>
                <a:spLocks/>
              </p:cNvSpPr>
              <p:nvPr/>
            </p:nvSpPr>
            <p:spPr bwMode="auto">
              <a:xfrm rot="20535687">
                <a:off x="1758587" y="2317774"/>
                <a:ext cx="1440000" cy="1080000"/>
              </a:xfrm>
              <a:custGeom>
                <a:avLst/>
                <a:gdLst/>
                <a:ahLst/>
                <a:cxnLst>
                  <a:cxn ang="0">
                    <a:pos x="312" y="1600"/>
                  </a:cxn>
                  <a:cxn ang="0">
                    <a:pos x="476" y="1592"/>
                  </a:cxn>
                  <a:cxn ang="0">
                    <a:pos x="634" y="1566"/>
                  </a:cxn>
                  <a:cxn ang="0">
                    <a:pos x="788" y="1528"/>
                  </a:cxn>
                  <a:cxn ang="0">
                    <a:pos x="934" y="1474"/>
                  </a:cxn>
                  <a:cxn ang="0">
                    <a:pos x="1074" y="1406"/>
                  </a:cxn>
                  <a:cxn ang="0">
                    <a:pos x="1206" y="1326"/>
                  </a:cxn>
                  <a:cxn ang="0">
                    <a:pos x="1330" y="1234"/>
                  </a:cxn>
                  <a:cxn ang="0">
                    <a:pos x="1442" y="1132"/>
                  </a:cxn>
                  <a:cxn ang="0">
                    <a:pos x="1546" y="1018"/>
                  </a:cxn>
                  <a:cxn ang="0">
                    <a:pos x="1638" y="896"/>
                  </a:cxn>
                  <a:cxn ang="0">
                    <a:pos x="1718" y="764"/>
                  </a:cxn>
                  <a:cxn ang="0">
                    <a:pos x="1786" y="624"/>
                  </a:cxn>
                  <a:cxn ang="0">
                    <a:pos x="1840" y="478"/>
                  </a:cxn>
                  <a:cxn ang="0">
                    <a:pos x="1880" y="324"/>
                  </a:cxn>
                  <a:cxn ang="0">
                    <a:pos x="1904" y="166"/>
                  </a:cxn>
                  <a:cxn ang="0">
                    <a:pos x="1912" y="2"/>
                  </a:cxn>
                  <a:cxn ang="0">
                    <a:pos x="1594" y="312"/>
                  </a:cxn>
                  <a:cxn ang="0">
                    <a:pos x="1276" y="2"/>
                  </a:cxn>
                  <a:cxn ang="0">
                    <a:pos x="1272" y="0"/>
                  </a:cxn>
                  <a:cxn ang="0">
                    <a:pos x="1268" y="98"/>
                  </a:cxn>
                  <a:cxn ang="0">
                    <a:pos x="1252" y="192"/>
                  </a:cxn>
                  <a:cxn ang="0">
                    <a:pos x="1228" y="284"/>
                  </a:cxn>
                  <a:cxn ang="0">
                    <a:pos x="1196" y="374"/>
                  </a:cxn>
                  <a:cxn ang="0">
                    <a:pos x="1156" y="458"/>
                  </a:cxn>
                  <a:cxn ang="0">
                    <a:pos x="1108" y="536"/>
                  </a:cxn>
                  <a:cxn ang="0">
                    <a:pos x="1052" y="610"/>
                  </a:cxn>
                  <a:cxn ang="0">
                    <a:pos x="992" y="678"/>
                  </a:cxn>
                  <a:cxn ang="0">
                    <a:pos x="922" y="740"/>
                  </a:cxn>
                  <a:cxn ang="0">
                    <a:pos x="848" y="796"/>
                  </a:cxn>
                  <a:cxn ang="0">
                    <a:pos x="770" y="844"/>
                  </a:cxn>
                  <a:cxn ang="0">
                    <a:pos x="686" y="884"/>
                  </a:cxn>
                  <a:cxn ang="0">
                    <a:pos x="598" y="916"/>
                  </a:cxn>
                  <a:cxn ang="0">
                    <a:pos x="506" y="940"/>
                  </a:cxn>
                  <a:cxn ang="0">
                    <a:pos x="410" y="954"/>
                  </a:cxn>
                  <a:cxn ang="0">
                    <a:pos x="312" y="960"/>
                  </a:cxn>
                  <a:cxn ang="0">
                    <a:pos x="156" y="1120"/>
                  </a:cxn>
                  <a:cxn ang="0">
                    <a:pos x="156" y="1438"/>
                  </a:cxn>
                  <a:cxn ang="0">
                    <a:pos x="312" y="1600"/>
                  </a:cxn>
                </a:cxnLst>
                <a:rect l="0" t="0" r="r" b="b"/>
                <a:pathLst>
                  <a:path w="1912" h="1600">
                    <a:moveTo>
                      <a:pt x="312" y="1600"/>
                    </a:moveTo>
                    <a:lnTo>
                      <a:pt x="312" y="1600"/>
                    </a:lnTo>
                    <a:lnTo>
                      <a:pt x="394" y="1598"/>
                    </a:lnTo>
                    <a:lnTo>
                      <a:pt x="476" y="1592"/>
                    </a:lnTo>
                    <a:lnTo>
                      <a:pt x="556" y="1580"/>
                    </a:lnTo>
                    <a:lnTo>
                      <a:pt x="634" y="1566"/>
                    </a:lnTo>
                    <a:lnTo>
                      <a:pt x="712" y="1550"/>
                    </a:lnTo>
                    <a:lnTo>
                      <a:pt x="788" y="1528"/>
                    </a:lnTo>
                    <a:lnTo>
                      <a:pt x="862" y="1502"/>
                    </a:lnTo>
                    <a:lnTo>
                      <a:pt x="934" y="1474"/>
                    </a:lnTo>
                    <a:lnTo>
                      <a:pt x="1006" y="1442"/>
                    </a:lnTo>
                    <a:lnTo>
                      <a:pt x="1074" y="1406"/>
                    </a:lnTo>
                    <a:lnTo>
                      <a:pt x="1142" y="1368"/>
                    </a:lnTo>
                    <a:lnTo>
                      <a:pt x="1206" y="1326"/>
                    </a:lnTo>
                    <a:lnTo>
                      <a:pt x="1268" y="1282"/>
                    </a:lnTo>
                    <a:lnTo>
                      <a:pt x="1330" y="1234"/>
                    </a:lnTo>
                    <a:lnTo>
                      <a:pt x="1388" y="1184"/>
                    </a:lnTo>
                    <a:lnTo>
                      <a:pt x="1442" y="1132"/>
                    </a:lnTo>
                    <a:lnTo>
                      <a:pt x="1496" y="1076"/>
                    </a:lnTo>
                    <a:lnTo>
                      <a:pt x="1546" y="1018"/>
                    </a:lnTo>
                    <a:lnTo>
                      <a:pt x="1594" y="958"/>
                    </a:lnTo>
                    <a:lnTo>
                      <a:pt x="1638" y="896"/>
                    </a:lnTo>
                    <a:lnTo>
                      <a:pt x="1680" y="830"/>
                    </a:lnTo>
                    <a:lnTo>
                      <a:pt x="1718" y="764"/>
                    </a:lnTo>
                    <a:lnTo>
                      <a:pt x="1754" y="694"/>
                    </a:lnTo>
                    <a:lnTo>
                      <a:pt x="1786" y="624"/>
                    </a:lnTo>
                    <a:lnTo>
                      <a:pt x="1814" y="552"/>
                    </a:lnTo>
                    <a:lnTo>
                      <a:pt x="1840" y="478"/>
                    </a:lnTo>
                    <a:lnTo>
                      <a:pt x="1862" y="402"/>
                    </a:lnTo>
                    <a:lnTo>
                      <a:pt x="1880" y="324"/>
                    </a:lnTo>
                    <a:lnTo>
                      <a:pt x="1894" y="246"/>
                    </a:lnTo>
                    <a:lnTo>
                      <a:pt x="1904" y="166"/>
                    </a:lnTo>
                    <a:lnTo>
                      <a:pt x="1910" y="84"/>
                    </a:lnTo>
                    <a:lnTo>
                      <a:pt x="1912" y="2"/>
                    </a:lnTo>
                    <a:lnTo>
                      <a:pt x="1754" y="158"/>
                    </a:lnTo>
                    <a:lnTo>
                      <a:pt x="1594" y="312"/>
                    </a:lnTo>
                    <a:lnTo>
                      <a:pt x="1436" y="158"/>
                    </a:lnTo>
                    <a:lnTo>
                      <a:pt x="1276" y="2"/>
                    </a:lnTo>
                    <a:lnTo>
                      <a:pt x="1272" y="0"/>
                    </a:lnTo>
                    <a:lnTo>
                      <a:pt x="1272" y="0"/>
                    </a:lnTo>
                    <a:lnTo>
                      <a:pt x="1270" y="48"/>
                    </a:lnTo>
                    <a:lnTo>
                      <a:pt x="1268" y="98"/>
                    </a:lnTo>
                    <a:lnTo>
                      <a:pt x="1260" y="146"/>
                    </a:lnTo>
                    <a:lnTo>
                      <a:pt x="1252" y="192"/>
                    </a:lnTo>
                    <a:lnTo>
                      <a:pt x="1242" y="240"/>
                    </a:lnTo>
                    <a:lnTo>
                      <a:pt x="1228" y="284"/>
                    </a:lnTo>
                    <a:lnTo>
                      <a:pt x="1214" y="330"/>
                    </a:lnTo>
                    <a:lnTo>
                      <a:pt x="1196" y="374"/>
                    </a:lnTo>
                    <a:lnTo>
                      <a:pt x="1178" y="416"/>
                    </a:lnTo>
                    <a:lnTo>
                      <a:pt x="1156" y="458"/>
                    </a:lnTo>
                    <a:lnTo>
                      <a:pt x="1134" y="498"/>
                    </a:lnTo>
                    <a:lnTo>
                      <a:pt x="1108" y="536"/>
                    </a:lnTo>
                    <a:lnTo>
                      <a:pt x="1082" y="574"/>
                    </a:lnTo>
                    <a:lnTo>
                      <a:pt x="1052" y="610"/>
                    </a:lnTo>
                    <a:lnTo>
                      <a:pt x="1022" y="644"/>
                    </a:lnTo>
                    <a:lnTo>
                      <a:pt x="992" y="678"/>
                    </a:lnTo>
                    <a:lnTo>
                      <a:pt x="958" y="710"/>
                    </a:lnTo>
                    <a:lnTo>
                      <a:pt x="922" y="740"/>
                    </a:lnTo>
                    <a:lnTo>
                      <a:pt x="886" y="768"/>
                    </a:lnTo>
                    <a:lnTo>
                      <a:pt x="848" y="796"/>
                    </a:lnTo>
                    <a:lnTo>
                      <a:pt x="810" y="820"/>
                    </a:lnTo>
                    <a:lnTo>
                      <a:pt x="770" y="844"/>
                    </a:lnTo>
                    <a:lnTo>
                      <a:pt x="728" y="864"/>
                    </a:lnTo>
                    <a:lnTo>
                      <a:pt x="686" y="884"/>
                    </a:lnTo>
                    <a:lnTo>
                      <a:pt x="642" y="902"/>
                    </a:lnTo>
                    <a:lnTo>
                      <a:pt x="598" y="916"/>
                    </a:lnTo>
                    <a:lnTo>
                      <a:pt x="552" y="930"/>
                    </a:lnTo>
                    <a:lnTo>
                      <a:pt x="506" y="940"/>
                    </a:lnTo>
                    <a:lnTo>
                      <a:pt x="458" y="948"/>
                    </a:lnTo>
                    <a:lnTo>
                      <a:pt x="410" y="954"/>
                    </a:lnTo>
                    <a:lnTo>
                      <a:pt x="362" y="958"/>
                    </a:lnTo>
                    <a:lnTo>
                      <a:pt x="312" y="960"/>
                    </a:lnTo>
                    <a:lnTo>
                      <a:pt x="310" y="962"/>
                    </a:lnTo>
                    <a:lnTo>
                      <a:pt x="156" y="1120"/>
                    </a:lnTo>
                    <a:lnTo>
                      <a:pt x="0" y="1280"/>
                    </a:lnTo>
                    <a:lnTo>
                      <a:pt x="156" y="1438"/>
                    </a:lnTo>
                    <a:lnTo>
                      <a:pt x="310" y="1596"/>
                    </a:lnTo>
                    <a:lnTo>
                      <a:pt x="312" y="1600"/>
                    </a:lnTo>
                    <a:close/>
                  </a:path>
                </a:pathLst>
              </a:custGeom>
              <a:solidFill>
                <a:schemeClr val="accent2">
                  <a:lumMod val="20000"/>
                  <a:lumOff val="80000"/>
                </a:schemeClr>
              </a:solidFill>
              <a:ln w="12700" cmpd="sng">
                <a:solidFill>
                  <a:schemeClr val="accent1">
                    <a:shade val="5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kern="0" dirty="0">
                  <a:solidFill>
                    <a:sysClr val="windowText" lastClr="000000"/>
                  </a:solidFill>
                </a:endParaRPr>
              </a:p>
            </p:txBody>
          </p:sp>
          <p:sp>
            <p:nvSpPr>
              <p:cNvPr id="28" name="Freeform 27"/>
              <p:cNvSpPr>
                <a:spLocks/>
              </p:cNvSpPr>
              <p:nvPr/>
            </p:nvSpPr>
            <p:spPr bwMode="auto">
              <a:xfrm rot="19822024">
                <a:off x="1485599" y="1778669"/>
                <a:ext cx="1438255" cy="1080000"/>
              </a:xfrm>
              <a:custGeom>
                <a:avLst/>
                <a:gdLst/>
                <a:ahLst/>
                <a:cxnLst>
                  <a:cxn ang="0">
                    <a:pos x="1600" y="1600"/>
                  </a:cxn>
                  <a:cxn ang="0">
                    <a:pos x="1592" y="1436"/>
                  </a:cxn>
                  <a:cxn ang="0">
                    <a:pos x="1568" y="1278"/>
                  </a:cxn>
                  <a:cxn ang="0">
                    <a:pos x="1528" y="1124"/>
                  </a:cxn>
                  <a:cxn ang="0">
                    <a:pos x="1474" y="978"/>
                  </a:cxn>
                  <a:cxn ang="0">
                    <a:pos x="1408" y="838"/>
                  </a:cxn>
                  <a:cxn ang="0">
                    <a:pos x="1328" y="706"/>
                  </a:cxn>
                  <a:cxn ang="0">
                    <a:pos x="1236" y="582"/>
                  </a:cxn>
                  <a:cxn ang="0">
                    <a:pos x="1132" y="470"/>
                  </a:cxn>
                  <a:cxn ang="0">
                    <a:pos x="1020" y="366"/>
                  </a:cxn>
                  <a:cxn ang="0">
                    <a:pos x="896" y="274"/>
                  </a:cxn>
                  <a:cxn ang="0">
                    <a:pos x="764" y="194"/>
                  </a:cxn>
                  <a:cxn ang="0">
                    <a:pos x="624" y="126"/>
                  </a:cxn>
                  <a:cxn ang="0">
                    <a:pos x="478" y="72"/>
                  </a:cxn>
                  <a:cxn ang="0">
                    <a:pos x="324" y="32"/>
                  </a:cxn>
                  <a:cxn ang="0">
                    <a:pos x="166" y="8"/>
                  </a:cxn>
                  <a:cxn ang="0">
                    <a:pos x="2" y="0"/>
                  </a:cxn>
                  <a:cxn ang="0">
                    <a:pos x="312" y="318"/>
                  </a:cxn>
                  <a:cxn ang="0">
                    <a:pos x="2" y="636"/>
                  </a:cxn>
                  <a:cxn ang="0">
                    <a:pos x="0" y="640"/>
                  </a:cxn>
                  <a:cxn ang="0">
                    <a:pos x="98" y="644"/>
                  </a:cxn>
                  <a:cxn ang="0">
                    <a:pos x="194" y="660"/>
                  </a:cxn>
                  <a:cxn ang="0">
                    <a:pos x="286" y="684"/>
                  </a:cxn>
                  <a:cxn ang="0">
                    <a:pos x="374" y="716"/>
                  </a:cxn>
                  <a:cxn ang="0">
                    <a:pos x="458" y="756"/>
                  </a:cxn>
                  <a:cxn ang="0">
                    <a:pos x="536" y="804"/>
                  </a:cxn>
                  <a:cxn ang="0">
                    <a:pos x="610" y="860"/>
                  </a:cxn>
                  <a:cxn ang="0">
                    <a:pos x="678" y="920"/>
                  </a:cxn>
                  <a:cxn ang="0">
                    <a:pos x="740" y="990"/>
                  </a:cxn>
                  <a:cxn ang="0">
                    <a:pos x="796" y="1064"/>
                  </a:cxn>
                  <a:cxn ang="0">
                    <a:pos x="844" y="1142"/>
                  </a:cxn>
                  <a:cxn ang="0">
                    <a:pos x="884" y="1226"/>
                  </a:cxn>
                  <a:cxn ang="0">
                    <a:pos x="916" y="1314"/>
                  </a:cxn>
                  <a:cxn ang="0">
                    <a:pos x="940" y="1406"/>
                  </a:cxn>
                  <a:cxn ang="0">
                    <a:pos x="956" y="1502"/>
                  </a:cxn>
                  <a:cxn ang="0">
                    <a:pos x="960" y="1600"/>
                  </a:cxn>
                  <a:cxn ang="0">
                    <a:pos x="1120" y="1756"/>
                  </a:cxn>
                  <a:cxn ang="0">
                    <a:pos x="1438" y="1756"/>
                  </a:cxn>
                  <a:cxn ang="0">
                    <a:pos x="1600" y="1600"/>
                  </a:cxn>
                </a:cxnLst>
                <a:rect l="0" t="0" r="r" b="b"/>
                <a:pathLst>
                  <a:path w="1600" h="1912">
                    <a:moveTo>
                      <a:pt x="1600" y="1600"/>
                    </a:moveTo>
                    <a:lnTo>
                      <a:pt x="1600" y="1600"/>
                    </a:lnTo>
                    <a:lnTo>
                      <a:pt x="1598" y="1518"/>
                    </a:lnTo>
                    <a:lnTo>
                      <a:pt x="1592" y="1436"/>
                    </a:lnTo>
                    <a:lnTo>
                      <a:pt x="1582" y="1356"/>
                    </a:lnTo>
                    <a:lnTo>
                      <a:pt x="1568" y="1278"/>
                    </a:lnTo>
                    <a:lnTo>
                      <a:pt x="1550" y="1200"/>
                    </a:lnTo>
                    <a:lnTo>
                      <a:pt x="1528" y="1124"/>
                    </a:lnTo>
                    <a:lnTo>
                      <a:pt x="1504" y="1050"/>
                    </a:lnTo>
                    <a:lnTo>
                      <a:pt x="1474" y="978"/>
                    </a:lnTo>
                    <a:lnTo>
                      <a:pt x="1442" y="906"/>
                    </a:lnTo>
                    <a:lnTo>
                      <a:pt x="1408" y="838"/>
                    </a:lnTo>
                    <a:lnTo>
                      <a:pt x="1368" y="770"/>
                    </a:lnTo>
                    <a:lnTo>
                      <a:pt x="1328" y="706"/>
                    </a:lnTo>
                    <a:lnTo>
                      <a:pt x="1282" y="644"/>
                    </a:lnTo>
                    <a:lnTo>
                      <a:pt x="1236" y="582"/>
                    </a:lnTo>
                    <a:lnTo>
                      <a:pt x="1186" y="524"/>
                    </a:lnTo>
                    <a:lnTo>
                      <a:pt x="1132" y="470"/>
                    </a:lnTo>
                    <a:lnTo>
                      <a:pt x="1078" y="416"/>
                    </a:lnTo>
                    <a:lnTo>
                      <a:pt x="1020" y="366"/>
                    </a:lnTo>
                    <a:lnTo>
                      <a:pt x="958" y="318"/>
                    </a:lnTo>
                    <a:lnTo>
                      <a:pt x="896" y="274"/>
                    </a:lnTo>
                    <a:lnTo>
                      <a:pt x="832" y="232"/>
                    </a:lnTo>
                    <a:lnTo>
                      <a:pt x="764" y="194"/>
                    </a:lnTo>
                    <a:lnTo>
                      <a:pt x="696" y="158"/>
                    </a:lnTo>
                    <a:lnTo>
                      <a:pt x="624" y="126"/>
                    </a:lnTo>
                    <a:lnTo>
                      <a:pt x="552" y="98"/>
                    </a:lnTo>
                    <a:lnTo>
                      <a:pt x="478" y="72"/>
                    </a:lnTo>
                    <a:lnTo>
                      <a:pt x="402" y="50"/>
                    </a:lnTo>
                    <a:lnTo>
                      <a:pt x="324" y="32"/>
                    </a:lnTo>
                    <a:lnTo>
                      <a:pt x="246" y="18"/>
                    </a:lnTo>
                    <a:lnTo>
                      <a:pt x="166" y="8"/>
                    </a:lnTo>
                    <a:lnTo>
                      <a:pt x="86" y="2"/>
                    </a:lnTo>
                    <a:lnTo>
                      <a:pt x="2" y="0"/>
                    </a:lnTo>
                    <a:lnTo>
                      <a:pt x="158" y="158"/>
                    </a:lnTo>
                    <a:lnTo>
                      <a:pt x="312" y="318"/>
                    </a:lnTo>
                    <a:lnTo>
                      <a:pt x="158" y="476"/>
                    </a:lnTo>
                    <a:lnTo>
                      <a:pt x="2" y="636"/>
                    </a:lnTo>
                    <a:lnTo>
                      <a:pt x="0" y="640"/>
                    </a:lnTo>
                    <a:lnTo>
                      <a:pt x="0" y="640"/>
                    </a:lnTo>
                    <a:lnTo>
                      <a:pt x="50" y="642"/>
                    </a:lnTo>
                    <a:lnTo>
                      <a:pt x="98" y="644"/>
                    </a:lnTo>
                    <a:lnTo>
                      <a:pt x="146" y="652"/>
                    </a:lnTo>
                    <a:lnTo>
                      <a:pt x="194" y="660"/>
                    </a:lnTo>
                    <a:lnTo>
                      <a:pt x="240" y="670"/>
                    </a:lnTo>
                    <a:lnTo>
                      <a:pt x="286" y="684"/>
                    </a:lnTo>
                    <a:lnTo>
                      <a:pt x="330" y="698"/>
                    </a:lnTo>
                    <a:lnTo>
                      <a:pt x="374" y="716"/>
                    </a:lnTo>
                    <a:lnTo>
                      <a:pt x="416" y="734"/>
                    </a:lnTo>
                    <a:lnTo>
                      <a:pt x="458" y="756"/>
                    </a:lnTo>
                    <a:lnTo>
                      <a:pt x="498" y="778"/>
                    </a:lnTo>
                    <a:lnTo>
                      <a:pt x="536" y="804"/>
                    </a:lnTo>
                    <a:lnTo>
                      <a:pt x="574" y="830"/>
                    </a:lnTo>
                    <a:lnTo>
                      <a:pt x="610" y="860"/>
                    </a:lnTo>
                    <a:lnTo>
                      <a:pt x="646" y="890"/>
                    </a:lnTo>
                    <a:lnTo>
                      <a:pt x="678" y="920"/>
                    </a:lnTo>
                    <a:lnTo>
                      <a:pt x="710" y="954"/>
                    </a:lnTo>
                    <a:lnTo>
                      <a:pt x="740" y="990"/>
                    </a:lnTo>
                    <a:lnTo>
                      <a:pt x="770" y="1026"/>
                    </a:lnTo>
                    <a:lnTo>
                      <a:pt x="796" y="1064"/>
                    </a:lnTo>
                    <a:lnTo>
                      <a:pt x="822" y="1102"/>
                    </a:lnTo>
                    <a:lnTo>
                      <a:pt x="844" y="1142"/>
                    </a:lnTo>
                    <a:lnTo>
                      <a:pt x="866" y="1184"/>
                    </a:lnTo>
                    <a:lnTo>
                      <a:pt x="884" y="1226"/>
                    </a:lnTo>
                    <a:lnTo>
                      <a:pt x="902" y="1270"/>
                    </a:lnTo>
                    <a:lnTo>
                      <a:pt x="916" y="1314"/>
                    </a:lnTo>
                    <a:lnTo>
                      <a:pt x="930" y="1360"/>
                    </a:lnTo>
                    <a:lnTo>
                      <a:pt x="940" y="1406"/>
                    </a:lnTo>
                    <a:lnTo>
                      <a:pt x="948" y="1454"/>
                    </a:lnTo>
                    <a:lnTo>
                      <a:pt x="956" y="1502"/>
                    </a:lnTo>
                    <a:lnTo>
                      <a:pt x="958" y="1550"/>
                    </a:lnTo>
                    <a:lnTo>
                      <a:pt x="960" y="1600"/>
                    </a:lnTo>
                    <a:lnTo>
                      <a:pt x="962" y="1602"/>
                    </a:lnTo>
                    <a:lnTo>
                      <a:pt x="1120" y="1756"/>
                    </a:lnTo>
                    <a:lnTo>
                      <a:pt x="1280" y="1912"/>
                    </a:lnTo>
                    <a:lnTo>
                      <a:pt x="1438" y="1756"/>
                    </a:lnTo>
                    <a:lnTo>
                      <a:pt x="1598" y="1602"/>
                    </a:lnTo>
                    <a:lnTo>
                      <a:pt x="1600" y="1600"/>
                    </a:lnTo>
                    <a:close/>
                  </a:path>
                </a:pathLst>
              </a:custGeom>
              <a:solidFill>
                <a:schemeClr val="accent2">
                  <a:lumMod val="20000"/>
                  <a:lumOff val="80000"/>
                </a:schemeClr>
              </a:solidFill>
              <a:ln w="12700" cmpd="sng">
                <a:solidFill>
                  <a:schemeClr val="accent1">
                    <a:shade val="5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fontAlgn="auto">
                  <a:spcBef>
                    <a:spcPts val="0"/>
                  </a:spcBef>
                  <a:spcAft>
                    <a:spcPts val="0"/>
                  </a:spcAft>
                  <a:defRPr/>
                </a:pPr>
                <a:endParaRPr lang="en-CA" kern="0" dirty="0">
                  <a:solidFill>
                    <a:sysClr val="windowText" lastClr="000000"/>
                  </a:solidFill>
                </a:endParaRPr>
              </a:p>
            </p:txBody>
          </p:sp>
          <p:sp>
            <p:nvSpPr>
              <p:cNvPr id="29" name="Freeform 28"/>
              <p:cNvSpPr>
                <a:spLocks/>
              </p:cNvSpPr>
              <p:nvPr/>
            </p:nvSpPr>
            <p:spPr bwMode="auto">
              <a:xfrm rot="1591251">
                <a:off x="1024218" y="2238316"/>
                <a:ext cx="1440000" cy="1080000"/>
              </a:xfrm>
              <a:custGeom>
                <a:avLst/>
                <a:gdLst/>
                <a:ahLst/>
                <a:cxnLst>
                  <a:cxn ang="0">
                    <a:pos x="0" y="312"/>
                  </a:cxn>
                  <a:cxn ang="0">
                    <a:pos x="8" y="474"/>
                  </a:cxn>
                  <a:cxn ang="0">
                    <a:pos x="32" y="634"/>
                  </a:cxn>
                  <a:cxn ang="0">
                    <a:pos x="72" y="786"/>
                  </a:cxn>
                  <a:cxn ang="0">
                    <a:pos x="126" y="934"/>
                  </a:cxn>
                  <a:cxn ang="0">
                    <a:pos x="192" y="1074"/>
                  </a:cxn>
                  <a:cxn ang="0">
                    <a:pos x="272" y="1206"/>
                  </a:cxn>
                  <a:cxn ang="0">
                    <a:pos x="364" y="1328"/>
                  </a:cxn>
                  <a:cxn ang="0">
                    <a:pos x="468" y="1442"/>
                  </a:cxn>
                  <a:cxn ang="0">
                    <a:pos x="580" y="1546"/>
                  </a:cxn>
                  <a:cxn ang="0">
                    <a:pos x="704" y="1638"/>
                  </a:cxn>
                  <a:cxn ang="0">
                    <a:pos x="836" y="1718"/>
                  </a:cxn>
                  <a:cxn ang="0">
                    <a:pos x="976" y="1784"/>
                  </a:cxn>
                  <a:cxn ang="0">
                    <a:pos x="1122" y="1838"/>
                  </a:cxn>
                  <a:cxn ang="0">
                    <a:pos x="1276" y="1878"/>
                  </a:cxn>
                  <a:cxn ang="0">
                    <a:pos x="1434" y="1902"/>
                  </a:cxn>
                  <a:cxn ang="0">
                    <a:pos x="1598" y="1912"/>
                  </a:cxn>
                  <a:cxn ang="0">
                    <a:pos x="1288" y="1594"/>
                  </a:cxn>
                  <a:cxn ang="0">
                    <a:pos x="1598" y="1276"/>
                  </a:cxn>
                  <a:cxn ang="0">
                    <a:pos x="1600" y="1272"/>
                  </a:cxn>
                  <a:cxn ang="0">
                    <a:pos x="1502" y="1266"/>
                  </a:cxn>
                  <a:cxn ang="0">
                    <a:pos x="1406" y="1252"/>
                  </a:cxn>
                  <a:cxn ang="0">
                    <a:pos x="1314" y="1228"/>
                  </a:cxn>
                  <a:cxn ang="0">
                    <a:pos x="1226" y="1196"/>
                  </a:cxn>
                  <a:cxn ang="0">
                    <a:pos x="1142" y="1156"/>
                  </a:cxn>
                  <a:cxn ang="0">
                    <a:pos x="1064" y="1108"/>
                  </a:cxn>
                  <a:cxn ang="0">
                    <a:pos x="990" y="1052"/>
                  </a:cxn>
                  <a:cxn ang="0">
                    <a:pos x="922" y="990"/>
                  </a:cxn>
                  <a:cxn ang="0">
                    <a:pos x="860" y="922"/>
                  </a:cxn>
                  <a:cxn ang="0">
                    <a:pos x="804" y="848"/>
                  </a:cxn>
                  <a:cxn ang="0">
                    <a:pos x="756" y="770"/>
                  </a:cxn>
                  <a:cxn ang="0">
                    <a:pos x="716" y="686"/>
                  </a:cxn>
                  <a:cxn ang="0">
                    <a:pos x="684" y="598"/>
                  </a:cxn>
                  <a:cxn ang="0">
                    <a:pos x="660" y="504"/>
                  </a:cxn>
                  <a:cxn ang="0">
                    <a:pos x="644" y="410"/>
                  </a:cxn>
                  <a:cxn ang="0">
                    <a:pos x="640" y="312"/>
                  </a:cxn>
                  <a:cxn ang="0">
                    <a:pos x="480" y="154"/>
                  </a:cxn>
                  <a:cxn ang="0">
                    <a:pos x="162" y="154"/>
                  </a:cxn>
                  <a:cxn ang="0">
                    <a:pos x="0" y="312"/>
                  </a:cxn>
                </a:cxnLst>
                <a:rect l="0" t="0" r="r" b="b"/>
                <a:pathLst>
                  <a:path w="1600" h="1912">
                    <a:moveTo>
                      <a:pt x="0" y="312"/>
                    </a:moveTo>
                    <a:lnTo>
                      <a:pt x="0" y="312"/>
                    </a:lnTo>
                    <a:lnTo>
                      <a:pt x="2" y="394"/>
                    </a:lnTo>
                    <a:lnTo>
                      <a:pt x="8" y="474"/>
                    </a:lnTo>
                    <a:lnTo>
                      <a:pt x="18" y="554"/>
                    </a:lnTo>
                    <a:lnTo>
                      <a:pt x="32" y="634"/>
                    </a:lnTo>
                    <a:lnTo>
                      <a:pt x="50" y="712"/>
                    </a:lnTo>
                    <a:lnTo>
                      <a:pt x="72" y="786"/>
                    </a:lnTo>
                    <a:lnTo>
                      <a:pt x="96" y="862"/>
                    </a:lnTo>
                    <a:lnTo>
                      <a:pt x="126" y="934"/>
                    </a:lnTo>
                    <a:lnTo>
                      <a:pt x="158" y="1004"/>
                    </a:lnTo>
                    <a:lnTo>
                      <a:pt x="192" y="1074"/>
                    </a:lnTo>
                    <a:lnTo>
                      <a:pt x="232" y="1140"/>
                    </a:lnTo>
                    <a:lnTo>
                      <a:pt x="272" y="1206"/>
                    </a:lnTo>
                    <a:lnTo>
                      <a:pt x="318" y="1268"/>
                    </a:lnTo>
                    <a:lnTo>
                      <a:pt x="364" y="1328"/>
                    </a:lnTo>
                    <a:lnTo>
                      <a:pt x="414" y="1386"/>
                    </a:lnTo>
                    <a:lnTo>
                      <a:pt x="468" y="1442"/>
                    </a:lnTo>
                    <a:lnTo>
                      <a:pt x="522" y="1496"/>
                    </a:lnTo>
                    <a:lnTo>
                      <a:pt x="580" y="1546"/>
                    </a:lnTo>
                    <a:lnTo>
                      <a:pt x="642" y="1592"/>
                    </a:lnTo>
                    <a:lnTo>
                      <a:pt x="704" y="1638"/>
                    </a:lnTo>
                    <a:lnTo>
                      <a:pt x="768" y="1678"/>
                    </a:lnTo>
                    <a:lnTo>
                      <a:pt x="836" y="1718"/>
                    </a:lnTo>
                    <a:lnTo>
                      <a:pt x="904" y="1752"/>
                    </a:lnTo>
                    <a:lnTo>
                      <a:pt x="976" y="1784"/>
                    </a:lnTo>
                    <a:lnTo>
                      <a:pt x="1048" y="1814"/>
                    </a:lnTo>
                    <a:lnTo>
                      <a:pt x="1122" y="1838"/>
                    </a:lnTo>
                    <a:lnTo>
                      <a:pt x="1198" y="1860"/>
                    </a:lnTo>
                    <a:lnTo>
                      <a:pt x="1276" y="1878"/>
                    </a:lnTo>
                    <a:lnTo>
                      <a:pt x="1354" y="1892"/>
                    </a:lnTo>
                    <a:lnTo>
                      <a:pt x="1434" y="1902"/>
                    </a:lnTo>
                    <a:lnTo>
                      <a:pt x="1514" y="1910"/>
                    </a:lnTo>
                    <a:lnTo>
                      <a:pt x="1598" y="1912"/>
                    </a:lnTo>
                    <a:lnTo>
                      <a:pt x="1442" y="1752"/>
                    </a:lnTo>
                    <a:lnTo>
                      <a:pt x="1288" y="1594"/>
                    </a:lnTo>
                    <a:lnTo>
                      <a:pt x="1442" y="1434"/>
                    </a:lnTo>
                    <a:lnTo>
                      <a:pt x="1598" y="1276"/>
                    </a:lnTo>
                    <a:lnTo>
                      <a:pt x="1600" y="1272"/>
                    </a:lnTo>
                    <a:lnTo>
                      <a:pt x="1600" y="1272"/>
                    </a:lnTo>
                    <a:lnTo>
                      <a:pt x="1550" y="1270"/>
                    </a:lnTo>
                    <a:lnTo>
                      <a:pt x="1502" y="1266"/>
                    </a:lnTo>
                    <a:lnTo>
                      <a:pt x="1454" y="1260"/>
                    </a:lnTo>
                    <a:lnTo>
                      <a:pt x="1406" y="1252"/>
                    </a:lnTo>
                    <a:lnTo>
                      <a:pt x="1360" y="1242"/>
                    </a:lnTo>
                    <a:lnTo>
                      <a:pt x="1314" y="1228"/>
                    </a:lnTo>
                    <a:lnTo>
                      <a:pt x="1270" y="1214"/>
                    </a:lnTo>
                    <a:lnTo>
                      <a:pt x="1226" y="1196"/>
                    </a:lnTo>
                    <a:lnTo>
                      <a:pt x="1184" y="1176"/>
                    </a:lnTo>
                    <a:lnTo>
                      <a:pt x="1142" y="1156"/>
                    </a:lnTo>
                    <a:lnTo>
                      <a:pt x="1102" y="1132"/>
                    </a:lnTo>
                    <a:lnTo>
                      <a:pt x="1064" y="1108"/>
                    </a:lnTo>
                    <a:lnTo>
                      <a:pt x="1026" y="1080"/>
                    </a:lnTo>
                    <a:lnTo>
                      <a:pt x="990" y="1052"/>
                    </a:lnTo>
                    <a:lnTo>
                      <a:pt x="954" y="1022"/>
                    </a:lnTo>
                    <a:lnTo>
                      <a:pt x="922" y="990"/>
                    </a:lnTo>
                    <a:lnTo>
                      <a:pt x="890" y="958"/>
                    </a:lnTo>
                    <a:lnTo>
                      <a:pt x="860" y="922"/>
                    </a:lnTo>
                    <a:lnTo>
                      <a:pt x="830" y="886"/>
                    </a:lnTo>
                    <a:lnTo>
                      <a:pt x="804" y="848"/>
                    </a:lnTo>
                    <a:lnTo>
                      <a:pt x="778" y="810"/>
                    </a:lnTo>
                    <a:lnTo>
                      <a:pt x="756" y="770"/>
                    </a:lnTo>
                    <a:lnTo>
                      <a:pt x="734" y="728"/>
                    </a:lnTo>
                    <a:lnTo>
                      <a:pt x="716" y="686"/>
                    </a:lnTo>
                    <a:lnTo>
                      <a:pt x="698" y="642"/>
                    </a:lnTo>
                    <a:lnTo>
                      <a:pt x="684" y="598"/>
                    </a:lnTo>
                    <a:lnTo>
                      <a:pt x="670" y="552"/>
                    </a:lnTo>
                    <a:lnTo>
                      <a:pt x="660" y="504"/>
                    </a:lnTo>
                    <a:lnTo>
                      <a:pt x="652" y="458"/>
                    </a:lnTo>
                    <a:lnTo>
                      <a:pt x="644" y="410"/>
                    </a:lnTo>
                    <a:lnTo>
                      <a:pt x="642" y="360"/>
                    </a:lnTo>
                    <a:lnTo>
                      <a:pt x="640" y="312"/>
                    </a:lnTo>
                    <a:lnTo>
                      <a:pt x="638" y="310"/>
                    </a:lnTo>
                    <a:lnTo>
                      <a:pt x="480" y="154"/>
                    </a:lnTo>
                    <a:lnTo>
                      <a:pt x="320" y="0"/>
                    </a:lnTo>
                    <a:lnTo>
                      <a:pt x="162" y="154"/>
                    </a:lnTo>
                    <a:lnTo>
                      <a:pt x="2" y="310"/>
                    </a:lnTo>
                    <a:lnTo>
                      <a:pt x="0" y="312"/>
                    </a:lnTo>
                    <a:close/>
                  </a:path>
                </a:pathLst>
              </a:custGeom>
              <a:solidFill>
                <a:schemeClr val="accent2">
                  <a:lumMod val="20000"/>
                  <a:lumOff val="80000"/>
                </a:schemeClr>
              </a:solidFill>
              <a:ln w="12700" cmpd="sng">
                <a:solidFill>
                  <a:schemeClr val="accent1">
                    <a:shade val="5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kern="0" dirty="0">
                  <a:solidFill>
                    <a:sysClr val="windowText" lastClr="000000"/>
                  </a:solidFill>
                </a:endParaRPr>
              </a:p>
            </p:txBody>
          </p:sp>
        </p:grpSp>
      </p:grpSp>
      <p:sp>
        <p:nvSpPr>
          <p:cNvPr id="30" name="Bent-Up Arrow 29"/>
          <p:cNvSpPr/>
          <p:nvPr>
            <p:custDataLst>
              <p:tags r:id="rId11"/>
            </p:custDataLst>
          </p:nvPr>
        </p:nvSpPr>
        <p:spPr>
          <a:xfrm rot="5400000">
            <a:off x="2807754" y="2765949"/>
            <a:ext cx="498110" cy="3204255"/>
          </a:xfrm>
          <a:prstGeom prst="bentUpArrow">
            <a:avLst>
              <a:gd name="adj1" fmla="val 17362"/>
              <a:gd name="adj2" fmla="val 22593"/>
              <a:gd name="adj3" fmla="val 31806"/>
            </a:avLst>
          </a:prstGeom>
          <a:solidFill>
            <a:srgbClr val="D17D08"/>
          </a:solidFill>
          <a:ln>
            <a:solidFill>
              <a:srgbClr val="2240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custDataLst>
              <p:tags r:id="rId12"/>
            </p:custDataLst>
          </p:nvPr>
        </p:nvSpPr>
        <p:spPr>
          <a:xfrm>
            <a:off x="267704" y="4005064"/>
            <a:ext cx="2664296" cy="828092"/>
          </a:xfrm>
          <a:prstGeom prst="rect">
            <a:avLst/>
          </a:prstGeom>
          <a:solidFill>
            <a:srgbClr val="224061"/>
          </a:solidFill>
          <a:ln>
            <a:noFill/>
          </a:ln>
          <a:effectLst>
            <a:outerShdw blurRad="50800" dist="38100" dir="2700000" algn="tl" rotWithShape="0">
              <a:prstClr val="black">
                <a:alpha val="40000"/>
              </a:prstClr>
            </a:outerShdw>
          </a:effectLst>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Each risk scenario has pie graphs that breakdown severity and risk </a:t>
            </a:r>
            <a:r>
              <a:rPr lang="en-CA" sz="1200" dirty="0"/>
              <a:t>a</a:t>
            </a:r>
            <a:r>
              <a:rPr lang="en-CA" sz="1200" dirty="0" smtClean="0"/>
              <a:t>ctions to take.</a:t>
            </a:r>
          </a:p>
        </p:txBody>
      </p:sp>
    </p:spTree>
    <p:extLst>
      <p:ext uri="{BB962C8B-B14F-4D97-AF65-F5344CB8AC3E}">
        <p14:creationId xmlns:p14="http://schemas.microsoft.com/office/powerpoint/2010/main" val="40653511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8660" name="Picture 4"/>
          <p:cNvPicPr>
            <a:picLocks noChangeAspect="1" noChangeArrowheads="1"/>
          </p:cNvPicPr>
          <p:nvPr>
            <p:custDataLst>
              <p:tags r:id="rId3"/>
            </p:custDataLst>
          </p:nvPr>
        </p:nvPicPr>
        <p:blipFill>
          <a:blip r:embed="rId18" cstate="print"/>
          <a:srcRect/>
          <a:stretch>
            <a:fillRect/>
          </a:stretch>
        </p:blipFill>
        <p:spPr bwMode="auto">
          <a:xfrm>
            <a:off x="469148" y="3625329"/>
            <a:ext cx="8251002" cy="2713813"/>
          </a:xfrm>
          <a:prstGeom prst="rect">
            <a:avLst/>
          </a:prstGeom>
          <a:noFill/>
          <a:ln w="9525">
            <a:noFill/>
            <a:miter lim="800000"/>
            <a:headEnd/>
            <a:tailEnd/>
          </a:ln>
        </p:spPr>
      </p:pic>
      <p:sp>
        <p:nvSpPr>
          <p:cNvPr id="21" name="Down Arrow 20"/>
          <p:cNvSpPr/>
          <p:nvPr>
            <p:custDataLst>
              <p:tags r:id="rId4"/>
            </p:custDataLst>
          </p:nvPr>
        </p:nvSpPr>
        <p:spPr>
          <a:xfrm>
            <a:off x="6120172" y="3397532"/>
            <a:ext cx="252000" cy="576064"/>
          </a:xfrm>
          <a:prstGeom prst="downArrow">
            <a:avLst>
              <a:gd name="adj1" fmla="val 50000"/>
              <a:gd name="adj2" fmla="val 52497"/>
            </a:avLst>
          </a:prstGeom>
          <a:solidFill>
            <a:srgbClr val="D17D08"/>
          </a:solidFill>
          <a:ln>
            <a:solidFill>
              <a:srgbClr val="224061"/>
            </a:solidFill>
          </a:ln>
          <a:effectLst>
            <a:outerShdw blurRad="50800" dist="38100" dir="2700000" algn="tl" rotWithShape="0">
              <a:prstClr val="black">
                <a:alpha val="40000"/>
              </a:prstClr>
            </a:outerShdw>
          </a:effectLst>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200" dirty="0" smtClean="0"/>
          </a:p>
        </p:txBody>
      </p:sp>
      <p:sp>
        <p:nvSpPr>
          <p:cNvPr id="4" name="Text Placeholder 3"/>
          <p:cNvSpPr>
            <a:spLocks noGrp="1"/>
          </p:cNvSpPr>
          <p:nvPr>
            <p:ph type="body" sz="quarter" idx="16"/>
            <p:custDataLst>
              <p:tags r:id="rId5"/>
            </p:custDataLst>
          </p:nvPr>
        </p:nvSpPr>
        <p:spPr>
          <a:xfrm>
            <a:off x="365659" y="1145729"/>
            <a:ext cx="4356484" cy="2568410"/>
          </a:xfrm>
        </p:spPr>
        <p:txBody>
          <a:bodyPr anchor="t" anchorCtr="0"/>
          <a:lstStyle/>
          <a:p>
            <a:pPr marL="0" indent="0">
              <a:buNone/>
            </a:pPr>
            <a:r>
              <a:rPr lang="en-CA" b="1" dirty="0" smtClean="0"/>
              <a:t>Use the </a:t>
            </a:r>
            <a:r>
              <a:rPr lang="en-CA" b="1" dirty="0" smtClean="0">
                <a:hlinkClick r:id="rId19"/>
              </a:rPr>
              <a:t>WCO IT Risk Profile Tool</a:t>
            </a:r>
            <a:r>
              <a:rPr lang="en-CA" b="1" dirty="0" smtClean="0"/>
              <a:t> </a:t>
            </a:r>
            <a:r>
              <a:rPr lang="en-CA" dirty="0" smtClean="0"/>
              <a:t>to communicate to the business the evaluation of the organization’s risks.</a:t>
            </a:r>
          </a:p>
          <a:p>
            <a:pPr marL="0" indent="0">
              <a:buNone/>
            </a:pPr>
            <a:r>
              <a:rPr lang="en-CA" dirty="0" smtClean="0"/>
              <a:t/>
            </a:r>
            <a:br>
              <a:rPr lang="en-CA" dirty="0" smtClean="0"/>
            </a:br>
            <a:r>
              <a:rPr lang="en-CA" b="1" dirty="0" smtClean="0"/>
              <a:t>Your risk management project is not yet complete.</a:t>
            </a:r>
            <a:r>
              <a:rPr lang="en-CA" dirty="0" smtClean="0"/>
              <a:t> This tool should be updated with new data on a regular basis to ensure that it communicates accurate information to the business.</a:t>
            </a:r>
            <a:br>
              <a:rPr lang="en-CA" dirty="0" smtClean="0"/>
            </a:br>
            <a:r>
              <a:rPr lang="en-CA" dirty="0" smtClean="0"/>
              <a:t/>
            </a:r>
            <a:br>
              <a:rPr lang="en-CA" dirty="0" smtClean="0"/>
            </a:br>
            <a:r>
              <a:rPr lang="en-CA" b="1" dirty="0" smtClean="0"/>
              <a:t>Use this tab as a reference for building out a detailed action plan.</a:t>
            </a:r>
            <a:r>
              <a:rPr lang="en-CA" dirty="0" smtClean="0"/>
              <a:t> IT should leverage the accumulation of information for every risk event when structuring their action plan for mitigation to maximize its effectiveness.</a:t>
            </a:r>
          </a:p>
        </p:txBody>
      </p:sp>
      <p:sp>
        <p:nvSpPr>
          <p:cNvPr id="8" name="Title 2"/>
          <p:cNvSpPr>
            <a:spLocks noGrp="1"/>
          </p:cNvSpPr>
          <p:nvPr>
            <p:ph type="title"/>
            <p:custDataLst>
              <p:tags r:id="rId6"/>
            </p:custDataLst>
          </p:nvPr>
        </p:nvSpPr>
        <p:spPr>
          <a:xfrm>
            <a:off x="251520" y="260648"/>
            <a:ext cx="7214970" cy="864096"/>
          </a:xfrm>
        </p:spPr>
        <p:txBody>
          <a:bodyPr/>
          <a:lstStyle/>
          <a:p>
            <a:r>
              <a:rPr lang="en-CA" dirty="0" smtClean="0"/>
              <a:t>Easily communicate the organization’s full risk profile using Info-Tech’s </a:t>
            </a:r>
            <a:r>
              <a:rPr lang="en-CA" dirty="0" smtClean="0">
                <a:hlinkClick r:id="rId19"/>
              </a:rPr>
              <a:t>WCO IT Risk Profile Tool</a:t>
            </a:r>
            <a:endParaRPr lang="en-CA" dirty="0"/>
          </a:p>
        </p:txBody>
      </p:sp>
      <p:pic>
        <p:nvPicPr>
          <p:cNvPr id="9" name="Picture 8" descr="tool.wmf"/>
          <p:cNvPicPr>
            <a:picLocks noChangeAspect="1"/>
          </p:cNvPicPr>
          <p:nvPr>
            <p:custDataLst>
              <p:tags r:id="rId7"/>
            </p:custDataLst>
          </p:nvPr>
        </p:nvPicPr>
        <p:blipFill>
          <a:blip r:embed="rId20" cstate="print"/>
          <a:stretch>
            <a:fillRect/>
          </a:stretch>
        </p:blipFill>
        <p:spPr>
          <a:xfrm>
            <a:off x="7466490" y="401942"/>
            <a:ext cx="633902" cy="614790"/>
          </a:xfrm>
          <a:prstGeom prst="rect">
            <a:avLst/>
          </a:prstGeom>
        </p:spPr>
      </p:pic>
      <p:sp>
        <p:nvSpPr>
          <p:cNvPr id="18" name="Rounded Rectangle 17"/>
          <p:cNvSpPr/>
          <p:nvPr>
            <p:custDataLst>
              <p:tags r:id="rId8"/>
            </p:custDataLst>
          </p:nvPr>
        </p:nvSpPr>
        <p:spPr>
          <a:xfrm>
            <a:off x="5796136" y="6189438"/>
            <a:ext cx="1188132" cy="155886"/>
          </a:xfrm>
          <a:prstGeom prst="roundRect">
            <a:avLst/>
          </a:prstGeom>
          <a:noFill/>
          <a:ln w="381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custDataLst>
              <p:tags r:id="rId9"/>
            </p:custDataLst>
          </p:nvPr>
        </p:nvSpPr>
        <p:spPr>
          <a:xfrm>
            <a:off x="4905914" y="2803869"/>
            <a:ext cx="2664296" cy="828092"/>
          </a:xfrm>
          <a:prstGeom prst="rect">
            <a:avLst/>
          </a:prstGeom>
          <a:solidFill>
            <a:srgbClr val="224061"/>
          </a:solidFill>
          <a:ln>
            <a:noFill/>
          </a:ln>
          <a:effectLst>
            <a:outerShdw blurRad="50800" dist="38100" dir="2700000" algn="tl" rotWithShape="0">
              <a:prstClr val="black">
                <a:alpha val="40000"/>
              </a:prstClr>
            </a:outerShdw>
          </a:effectLst>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The entirety of this table should be populated based on your completion of the previous tabs.</a:t>
            </a:r>
          </a:p>
        </p:txBody>
      </p:sp>
      <p:sp>
        <p:nvSpPr>
          <p:cNvPr id="26" name="Bent-Up Arrow 25"/>
          <p:cNvSpPr/>
          <p:nvPr>
            <p:custDataLst>
              <p:tags r:id="rId10"/>
            </p:custDataLst>
          </p:nvPr>
        </p:nvSpPr>
        <p:spPr>
          <a:xfrm rot="5400000">
            <a:off x="4695041" y="5346295"/>
            <a:ext cx="684076" cy="1446106"/>
          </a:xfrm>
          <a:prstGeom prst="bentUpArrow">
            <a:avLst>
              <a:gd name="adj1" fmla="val 17362"/>
              <a:gd name="adj2" fmla="val 22593"/>
              <a:gd name="adj3" fmla="val 31806"/>
            </a:avLst>
          </a:prstGeom>
          <a:solidFill>
            <a:srgbClr val="D17D08"/>
          </a:solidFill>
          <a:ln>
            <a:solidFill>
              <a:srgbClr val="2240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custDataLst>
              <p:tags r:id="rId11"/>
            </p:custDataLst>
          </p:nvPr>
        </p:nvSpPr>
        <p:spPr>
          <a:xfrm>
            <a:off x="3203876" y="5055372"/>
            <a:ext cx="2174410" cy="738000"/>
          </a:xfrm>
          <a:prstGeom prst="rect">
            <a:avLst/>
          </a:prstGeom>
          <a:solidFill>
            <a:srgbClr val="224061"/>
          </a:solidFill>
          <a:ln>
            <a:noFill/>
          </a:ln>
          <a:effectLst>
            <a:outerShdw blurRad="50800" dist="38100" dir="2700000" algn="tl" rotWithShape="0">
              <a:prstClr val="black">
                <a:alpha val="40000"/>
              </a:prstClr>
            </a:outerShdw>
          </a:effectLst>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Please ensure you are using the table on the tab labeled “7. Risk Reporting”</a:t>
            </a:r>
          </a:p>
        </p:txBody>
      </p:sp>
      <p:grpSp>
        <p:nvGrpSpPr>
          <p:cNvPr id="2" name="Group 30"/>
          <p:cNvGrpSpPr/>
          <p:nvPr>
            <p:custDataLst>
              <p:tags r:id="rId12"/>
            </p:custDataLst>
          </p:nvPr>
        </p:nvGrpSpPr>
        <p:grpSpPr>
          <a:xfrm>
            <a:off x="4828791" y="1268760"/>
            <a:ext cx="3811661" cy="1296144"/>
            <a:chOff x="2267743" y="1844804"/>
            <a:chExt cx="3811661" cy="1296144"/>
          </a:xfrm>
        </p:grpSpPr>
        <p:sp>
          <p:nvSpPr>
            <p:cNvPr id="32" name="Rectangle 31"/>
            <p:cNvSpPr/>
            <p:nvPr/>
          </p:nvSpPr>
          <p:spPr>
            <a:xfrm>
              <a:off x="2267743" y="2130796"/>
              <a:ext cx="3811661" cy="1010152"/>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Any significant changes to the “Risk Reporting” tab would likely indicate a need to update the business on the organization’s current risk profile. Keep to your communication schedule, but update the business as needed.</a:t>
              </a:r>
            </a:p>
          </p:txBody>
        </p:sp>
        <p:grpSp>
          <p:nvGrpSpPr>
            <p:cNvPr id="3" name="Group 109"/>
            <p:cNvGrpSpPr/>
            <p:nvPr/>
          </p:nvGrpSpPr>
          <p:grpSpPr>
            <a:xfrm>
              <a:off x="2267743" y="1844804"/>
              <a:ext cx="3811661" cy="285749"/>
              <a:chOff x="2267743" y="1844804"/>
              <a:chExt cx="3811661" cy="285749"/>
            </a:xfrm>
          </p:grpSpPr>
          <p:sp>
            <p:nvSpPr>
              <p:cNvPr id="34" name="Round Same Side Corner Rectangle 33"/>
              <p:cNvSpPr/>
              <p:nvPr/>
            </p:nvSpPr>
            <p:spPr>
              <a:xfrm>
                <a:off x="2267743" y="1844804"/>
                <a:ext cx="3811661" cy="2857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smtClean="0">
                    <a:solidFill>
                      <a:schemeClr val="bg1"/>
                    </a:solidFill>
                    <a:latin typeface="+mj-lt"/>
                  </a:rPr>
                  <a:t>Info-Tech Insight</a:t>
                </a:r>
                <a:endParaRPr lang="en-CA" sz="1100" i="1" dirty="0">
                  <a:solidFill>
                    <a:schemeClr val="bg1"/>
                  </a:solidFill>
                  <a:latin typeface="+mj-lt"/>
                </a:endParaRPr>
              </a:p>
            </p:txBody>
          </p:sp>
          <p:pic>
            <p:nvPicPr>
              <p:cNvPr id="35" name="Picture 34" descr="insight-sm.wmf"/>
              <p:cNvPicPr>
                <a:picLocks noChangeAspect="1"/>
              </p:cNvPicPr>
              <p:nvPr/>
            </p:nvPicPr>
            <p:blipFill>
              <a:blip r:embed="rId21" cstate="print"/>
              <a:stretch>
                <a:fillRect/>
              </a:stretch>
            </p:blipFill>
            <p:spPr>
              <a:xfrm>
                <a:off x="5796136" y="1897019"/>
                <a:ext cx="240000" cy="180000"/>
              </a:xfrm>
              <a:prstGeom prst="rect">
                <a:avLst/>
              </a:prstGeom>
            </p:spPr>
          </p:pic>
        </p:grpSp>
      </p:grpSp>
      <p:grpSp>
        <p:nvGrpSpPr>
          <p:cNvPr id="5" name="Group 85"/>
          <p:cNvGrpSpPr/>
          <p:nvPr/>
        </p:nvGrpSpPr>
        <p:grpSpPr>
          <a:xfrm>
            <a:off x="8136397" y="332656"/>
            <a:ext cx="684075" cy="684075"/>
            <a:chOff x="2555776" y="3284984"/>
            <a:chExt cx="2556284" cy="2556284"/>
          </a:xfrm>
          <a:solidFill>
            <a:schemeClr val="accent2">
              <a:lumMod val="20000"/>
              <a:lumOff val="80000"/>
            </a:schemeClr>
          </a:solidFill>
        </p:grpSpPr>
        <p:sp>
          <p:nvSpPr>
            <p:cNvPr id="22" name="Oval 21"/>
            <p:cNvSpPr/>
            <p:nvPr>
              <p:custDataLst>
                <p:tags r:id="rId13"/>
              </p:custDataLst>
            </p:nvPr>
          </p:nvSpPr>
          <p:spPr>
            <a:xfrm>
              <a:off x="2555776" y="3284984"/>
              <a:ext cx="2556284" cy="2556284"/>
            </a:xfrm>
            <a:prstGeom prst="ellipse">
              <a:avLst/>
            </a:prstGeom>
            <a:solidFill>
              <a:schemeClr val="accent1">
                <a:lumMod val="40000"/>
                <a:lumOff val="60000"/>
              </a:schemeClr>
            </a:solidFill>
            <a:ln w="12700" cap="flat" cmpd="sng" algn="ctr">
              <a:solidFill>
                <a:schemeClr val="accent1">
                  <a:shade val="50000"/>
                </a:schemeClr>
              </a:solidFill>
              <a:prstDash val="solid"/>
            </a:ln>
            <a:effectLst/>
          </p:spPr>
          <p:txBody>
            <a:bodyPr rtlCol="0" anchor="ctr"/>
            <a:lstStyle/>
            <a:p>
              <a:pPr fontAlgn="auto">
                <a:spcBef>
                  <a:spcPts val="0"/>
                </a:spcBef>
                <a:spcAft>
                  <a:spcPts val="0"/>
                </a:spcAft>
                <a:defRPr/>
              </a:pPr>
              <a:endParaRPr lang="en-CA" kern="0" dirty="0">
                <a:solidFill>
                  <a:srgbClr val="FFFFFF"/>
                </a:solidFill>
                <a:latin typeface="Arial"/>
              </a:endParaRPr>
            </a:p>
          </p:txBody>
        </p:sp>
        <p:grpSp>
          <p:nvGrpSpPr>
            <p:cNvPr id="6" name="Group 35"/>
            <p:cNvGrpSpPr/>
            <p:nvPr/>
          </p:nvGrpSpPr>
          <p:grpSpPr>
            <a:xfrm>
              <a:off x="2706440" y="3658476"/>
              <a:ext cx="2174369" cy="1619105"/>
              <a:chOff x="1024218" y="1778669"/>
              <a:chExt cx="2174369" cy="1619105"/>
            </a:xfrm>
            <a:grpFill/>
          </p:grpSpPr>
          <p:sp>
            <p:nvSpPr>
              <p:cNvPr id="25" name="Oval 24"/>
              <p:cNvSpPr/>
              <p:nvPr/>
            </p:nvSpPr>
            <p:spPr>
              <a:xfrm>
                <a:off x="1554657" y="2269273"/>
                <a:ext cx="1152128" cy="864096"/>
              </a:xfrm>
              <a:prstGeom prst="ellipse">
                <a:avLst/>
              </a:prstGeom>
              <a:grpFill/>
              <a:ln w="12700" cap="flat" cmpd="sng" algn="ctr">
                <a:solidFill>
                  <a:schemeClr val="accent1">
                    <a:shade val="50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endParaRPr lang="en-US" sz="1200" i="1" kern="0" dirty="0">
                  <a:solidFill>
                    <a:srgbClr val="333333"/>
                  </a:solidFill>
                </a:endParaRPr>
              </a:p>
            </p:txBody>
          </p:sp>
          <p:sp>
            <p:nvSpPr>
              <p:cNvPr id="27" name="Freeform 6"/>
              <p:cNvSpPr>
                <a:spLocks/>
              </p:cNvSpPr>
              <p:nvPr/>
            </p:nvSpPr>
            <p:spPr bwMode="auto">
              <a:xfrm rot="20535687">
                <a:off x="1758587" y="2317774"/>
                <a:ext cx="1440000" cy="1080000"/>
              </a:xfrm>
              <a:custGeom>
                <a:avLst/>
                <a:gdLst/>
                <a:ahLst/>
                <a:cxnLst>
                  <a:cxn ang="0">
                    <a:pos x="312" y="1600"/>
                  </a:cxn>
                  <a:cxn ang="0">
                    <a:pos x="476" y="1592"/>
                  </a:cxn>
                  <a:cxn ang="0">
                    <a:pos x="634" y="1566"/>
                  </a:cxn>
                  <a:cxn ang="0">
                    <a:pos x="788" y="1528"/>
                  </a:cxn>
                  <a:cxn ang="0">
                    <a:pos x="934" y="1474"/>
                  </a:cxn>
                  <a:cxn ang="0">
                    <a:pos x="1074" y="1406"/>
                  </a:cxn>
                  <a:cxn ang="0">
                    <a:pos x="1206" y="1326"/>
                  </a:cxn>
                  <a:cxn ang="0">
                    <a:pos x="1330" y="1234"/>
                  </a:cxn>
                  <a:cxn ang="0">
                    <a:pos x="1442" y="1132"/>
                  </a:cxn>
                  <a:cxn ang="0">
                    <a:pos x="1546" y="1018"/>
                  </a:cxn>
                  <a:cxn ang="0">
                    <a:pos x="1638" y="896"/>
                  </a:cxn>
                  <a:cxn ang="0">
                    <a:pos x="1718" y="764"/>
                  </a:cxn>
                  <a:cxn ang="0">
                    <a:pos x="1786" y="624"/>
                  </a:cxn>
                  <a:cxn ang="0">
                    <a:pos x="1840" y="478"/>
                  </a:cxn>
                  <a:cxn ang="0">
                    <a:pos x="1880" y="324"/>
                  </a:cxn>
                  <a:cxn ang="0">
                    <a:pos x="1904" y="166"/>
                  </a:cxn>
                  <a:cxn ang="0">
                    <a:pos x="1912" y="2"/>
                  </a:cxn>
                  <a:cxn ang="0">
                    <a:pos x="1594" y="312"/>
                  </a:cxn>
                  <a:cxn ang="0">
                    <a:pos x="1276" y="2"/>
                  </a:cxn>
                  <a:cxn ang="0">
                    <a:pos x="1272" y="0"/>
                  </a:cxn>
                  <a:cxn ang="0">
                    <a:pos x="1268" y="98"/>
                  </a:cxn>
                  <a:cxn ang="0">
                    <a:pos x="1252" y="192"/>
                  </a:cxn>
                  <a:cxn ang="0">
                    <a:pos x="1228" y="284"/>
                  </a:cxn>
                  <a:cxn ang="0">
                    <a:pos x="1196" y="374"/>
                  </a:cxn>
                  <a:cxn ang="0">
                    <a:pos x="1156" y="458"/>
                  </a:cxn>
                  <a:cxn ang="0">
                    <a:pos x="1108" y="536"/>
                  </a:cxn>
                  <a:cxn ang="0">
                    <a:pos x="1052" y="610"/>
                  </a:cxn>
                  <a:cxn ang="0">
                    <a:pos x="992" y="678"/>
                  </a:cxn>
                  <a:cxn ang="0">
                    <a:pos x="922" y="740"/>
                  </a:cxn>
                  <a:cxn ang="0">
                    <a:pos x="848" y="796"/>
                  </a:cxn>
                  <a:cxn ang="0">
                    <a:pos x="770" y="844"/>
                  </a:cxn>
                  <a:cxn ang="0">
                    <a:pos x="686" y="884"/>
                  </a:cxn>
                  <a:cxn ang="0">
                    <a:pos x="598" y="916"/>
                  </a:cxn>
                  <a:cxn ang="0">
                    <a:pos x="506" y="940"/>
                  </a:cxn>
                  <a:cxn ang="0">
                    <a:pos x="410" y="954"/>
                  </a:cxn>
                  <a:cxn ang="0">
                    <a:pos x="312" y="960"/>
                  </a:cxn>
                  <a:cxn ang="0">
                    <a:pos x="156" y="1120"/>
                  </a:cxn>
                  <a:cxn ang="0">
                    <a:pos x="156" y="1438"/>
                  </a:cxn>
                  <a:cxn ang="0">
                    <a:pos x="312" y="1600"/>
                  </a:cxn>
                </a:cxnLst>
                <a:rect l="0" t="0" r="r" b="b"/>
                <a:pathLst>
                  <a:path w="1912" h="1600">
                    <a:moveTo>
                      <a:pt x="312" y="1600"/>
                    </a:moveTo>
                    <a:lnTo>
                      <a:pt x="312" y="1600"/>
                    </a:lnTo>
                    <a:lnTo>
                      <a:pt x="394" y="1598"/>
                    </a:lnTo>
                    <a:lnTo>
                      <a:pt x="476" y="1592"/>
                    </a:lnTo>
                    <a:lnTo>
                      <a:pt x="556" y="1580"/>
                    </a:lnTo>
                    <a:lnTo>
                      <a:pt x="634" y="1566"/>
                    </a:lnTo>
                    <a:lnTo>
                      <a:pt x="712" y="1550"/>
                    </a:lnTo>
                    <a:lnTo>
                      <a:pt x="788" y="1528"/>
                    </a:lnTo>
                    <a:lnTo>
                      <a:pt x="862" y="1502"/>
                    </a:lnTo>
                    <a:lnTo>
                      <a:pt x="934" y="1474"/>
                    </a:lnTo>
                    <a:lnTo>
                      <a:pt x="1006" y="1442"/>
                    </a:lnTo>
                    <a:lnTo>
                      <a:pt x="1074" y="1406"/>
                    </a:lnTo>
                    <a:lnTo>
                      <a:pt x="1142" y="1368"/>
                    </a:lnTo>
                    <a:lnTo>
                      <a:pt x="1206" y="1326"/>
                    </a:lnTo>
                    <a:lnTo>
                      <a:pt x="1268" y="1282"/>
                    </a:lnTo>
                    <a:lnTo>
                      <a:pt x="1330" y="1234"/>
                    </a:lnTo>
                    <a:lnTo>
                      <a:pt x="1388" y="1184"/>
                    </a:lnTo>
                    <a:lnTo>
                      <a:pt x="1442" y="1132"/>
                    </a:lnTo>
                    <a:lnTo>
                      <a:pt x="1496" y="1076"/>
                    </a:lnTo>
                    <a:lnTo>
                      <a:pt x="1546" y="1018"/>
                    </a:lnTo>
                    <a:lnTo>
                      <a:pt x="1594" y="958"/>
                    </a:lnTo>
                    <a:lnTo>
                      <a:pt x="1638" y="896"/>
                    </a:lnTo>
                    <a:lnTo>
                      <a:pt x="1680" y="830"/>
                    </a:lnTo>
                    <a:lnTo>
                      <a:pt x="1718" y="764"/>
                    </a:lnTo>
                    <a:lnTo>
                      <a:pt x="1754" y="694"/>
                    </a:lnTo>
                    <a:lnTo>
                      <a:pt x="1786" y="624"/>
                    </a:lnTo>
                    <a:lnTo>
                      <a:pt x="1814" y="552"/>
                    </a:lnTo>
                    <a:lnTo>
                      <a:pt x="1840" y="478"/>
                    </a:lnTo>
                    <a:lnTo>
                      <a:pt x="1862" y="402"/>
                    </a:lnTo>
                    <a:lnTo>
                      <a:pt x="1880" y="324"/>
                    </a:lnTo>
                    <a:lnTo>
                      <a:pt x="1894" y="246"/>
                    </a:lnTo>
                    <a:lnTo>
                      <a:pt x="1904" y="166"/>
                    </a:lnTo>
                    <a:lnTo>
                      <a:pt x="1910" y="84"/>
                    </a:lnTo>
                    <a:lnTo>
                      <a:pt x="1912" y="2"/>
                    </a:lnTo>
                    <a:lnTo>
                      <a:pt x="1754" y="158"/>
                    </a:lnTo>
                    <a:lnTo>
                      <a:pt x="1594" y="312"/>
                    </a:lnTo>
                    <a:lnTo>
                      <a:pt x="1436" y="158"/>
                    </a:lnTo>
                    <a:lnTo>
                      <a:pt x="1276" y="2"/>
                    </a:lnTo>
                    <a:lnTo>
                      <a:pt x="1272" y="0"/>
                    </a:lnTo>
                    <a:lnTo>
                      <a:pt x="1272" y="0"/>
                    </a:lnTo>
                    <a:lnTo>
                      <a:pt x="1270" y="48"/>
                    </a:lnTo>
                    <a:lnTo>
                      <a:pt x="1268" y="98"/>
                    </a:lnTo>
                    <a:lnTo>
                      <a:pt x="1260" y="146"/>
                    </a:lnTo>
                    <a:lnTo>
                      <a:pt x="1252" y="192"/>
                    </a:lnTo>
                    <a:lnTo>
                      <a:pt x="1242" y="240"/>
                    </a:lnTo>
                    <a:lnTo>
                      <a:pt x="1228" y="284"/>
                    </a:lnTo>
                    <a:lnTo>
                      <a:pt x="1214" y="330"/>
                    </a:lnTo>
                    <a:lnTo>
                      <a:pt x="1196" y="374"/>
                    </a:lnTo>
                    <a:lnTo>
                      <a:pt x="1178" y="416"/>
                    </a:lnTo>
                    <a:lnTo>
                      <a:pt x="1156" y="458"/>
                    </a:lnTo>
                    <a:lnTo>
                      <a:pt x="1134" y="498"/>
                    </a:lnTo>
                    <a:lnTo>
                      <a:pt x="1108" y="536"/>
                    </a:lnTo>
                    <a:lnTo>
                      <a:pt x="1082" y="574"/>
                    </a:lnTo>
                    <a:lnTo>
                      <a:pt x="1052" y="610"/>
                    </a:lnTo>
                    <a:lnTo>
                      <a:pt x="1022" y="644"/>
                    </a:lnTo>
                    <a:lnTo>
                      <a:pt x="992" y="678"/>
                    </a:lnTo>
                    <a:lnTo>
                      <a:pt x="958" y="710"/>
                    </a:lnTo>
                    <a:lnTo>
                      <a:pt x="922" y="740"/>
                    </a:lnTo>
                    <a:lnTo>
                      <a:pt x="886" y="768"/>
                    </a:lnTo>
                    <a:lnTo>
                      <a:pt x="848" y="796"/>
                    </a:lnTo>
                    <a:lnTo>
                      <a:pt x="810" y="820"/>
                    </a:lnTo>
                    <a:lnTo>
                      <a:pt x="770" y="844"/>
                    </a:lnTo>
                    <a:lnTo>
                      <a:pt x="728" y="864"/>
                    </a:lnTo>
                    <a:lnTo>
                      <a:pt x="686" y="884"/>
                    </a:lnTo>
                    <a:lnTo>
                      <a:pt x="642" y="902"/>
                    </a:lnTo>
                    <a:lnTo>
                      <a:pt x="598" y="916"/>
                    </a:lnTo>
                    <a:lnTo>
                      <a:pt x="552" y="930"/>
                    </a:lnTo>
                    <a:lnTo>
                      <a:pt x="506" y="940"/>
                    </a:lnTo>
                    <a:lnTo>
                      <a:pt x="458" y="948"/>
                    </a:lnTo>
                    <a:lnTo>
                      <a:pt x="410" y="954"/>
                    </a:lnTo>
                    <a:lnTo>
                      <a:pt x="362" y="958"/>
                    </a:lnTo>
                    <a:lnTo>
                      <a:pt x="312" y="960"/>
                    </a:lnTo>
                    <a:lnTo>
                      <a:pt x="310" y="962"/>
                    </a:lnTo>
                    <a:lnTo>
                      <a:pt x="156" y="1120"/>
                    </a:lnTo>
                    <a:lnTo>
                      <a:pt x="0" y="1280"/>
                    </a:lnTo>
                    <a:lnTo>
                      <a:pt x="156" y="1438"/>
                    </a:lnTo>
                    <a:lnTo>
                      <a:pt x="310" y="1596"/>
                    </a:lnTo>
                    <a:lnTo>
                      <a:pt x="312" y="1600"/>
                    </a:lnTo>
                    <a:close/>
                  </a:path>
                </a:pathLst>
              </a:custGeom>
              <a:solidFill>
                <a:schemeClr val="accent2">
                  <a:lumMod val="20000"/>
                  <a:lumOff val="80000"/>
                </a:schemeClr>
              </a:solidFill>
              <a:ln w="12700" cmpd="sng">
                <a:solidFill>
                  <a:schemeClr val="accent1">
                    <a:shade val="5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kern="0" dirty="0">
                  <a:solidFill>
                    <a:sysClr val="windowText" lastClr="000000"/>
                  </a:solidFill>
                </a:endParaRPr>
              </a:p>
            </p:txBody>
          </p:sp>
          <p:sp>
            <p:nvSpPr>
              <p:cNvPr id="28" name="Freeform 27"/>
              <p:cNvSpPr>
                <a:spLocks/>
              </p:cNvSpPr>
              <p:nvPr/>
            </p:nvSpPr>
            <p:spPr bwMode="auto">
              <a:xfrm rot="19822024">
                <a:off x="1485599" y="1778669"/>
                <a:ext cx="1438255" cy="1080000"/>
              </a:xfrm>
              <a:custGeom>
                <a:avLst/>
                <a:gdLst/>
                <a:ahLst/>
                <a:cxnLst>
                  <a:cxn ang="0">
                    <a:pos x="1600" y="1600"/>
                  </a:cxn>
                  <a:cxn ang="0">
                    <a:pos x="1592" y="1436"/>
                  </a:cxn>
                  <a:cxn ang="0">
                    <a:pos x="1568" y="1278"/>
                  </a:cxn>
                  <a:cxn ang="0">
                    <a:pos x="1528" y="1124"/>
                  </a:cxn>
                  <a:cxn ang="0">
                    <a:pos x="1474" y="978"/>
                  </a:cxn>
                  <a:cxn ang="0">
                    <a:pos x="1408" y="838"/>
                  </a:cxn>
                  <a:cxn ang="0">
                    <a:pos x="1328" y="706"/>
                  </a:cxn>
                  <a:cxn ang="0">
                    <a:pos x="1236" y="582"/>
                  </a:cxn>
                  <a:cxn ang="0">
                    <a:pos x="1132" y="470"/>
                  </a:cxn>
                  <a:cxn ang="0">
                    <a:pos x="1020" y="366"/>
                  </a:cxn>
                  <a:cxn ang="0">
                    <a:pos x="896" y="274"/>
                  </a:cxn>
                  <a:cxn ang="0">
                    <a:pos x="764" y="194"/>
                  </a:cxn>
                  <a:cxn ang="0">
                    <a:pos x="624" y="126"/>
                  </a:cxn>
                  <a:cxn ang="0">
                    <a:pos x="478" y="72"/>
                  </a:cxn>
                  <a:cxn ang="0">
                    <a:pos x="324" y="32"/>
                  </a:cxn>
                  <a:cxn ang="0">
                    <a:pos x="166" y="8"/>
                  </a:cxn>
                  <a:cxn ang="0">
                    <a:pos x="2" y="0"/>
                  </a:cxn>
                  <a:cxn ang="0">
                    <a:pos x="312" y="318"/>
                  </a:cxn>
                  <a:cxn ang="0">
                    <a:pos x="2" y="636"/>
                  </a:cxn>
                  <a:cxn ang="0">
                    <a:pos x="0" y="640"/>
                  </a:cxn>
                  <a:cxn ang="0">
                    <a:pos x="98" y="644"/>
                  </a:cxn>
                  <a:cxn ang="0">
                    <a:pos x="194" y="660"/>
                  </a:cxn>
                  <a:cxn ang="0">
                    <a:pos x="286" y="684"/>
                  </a:cxn>
                  <a:cxn ang="0">
                    <a:pos x="374" y="716"/>
                  </a:cxn>
                  <a:cxn ang="0">
                    <a:pos x="458" y="756"/>
                  </a:cxn>
                  <a:cxn ang="0">
                    <a:pos x="536" y="804"/>
                  </a:cxn>
                  <a:cxn ang="0">
                    <a:pos x="610" y="860"/>
                  </a:cxn>
                  <a:cxn ang="0">
                    <a:pos x="678" y="920"/>
                  </a:cxn>
                  <a:cxn ang="0">
                    <a:pos x="740" y="990"/>
                  </a:cxn>
                  <a:cxn ang="0">
                    <a:pos x="796" y="1064"/>
                  </a:cxn>
                  <a:cxn ang="0">
                    <a:pos x="844" y="1142"/>
                  </a:cxn>
                  <a:cxn ang="0">
                    <a:pos x="884" y="1226"/>
                  </a:cxn>
                  <a:cxn ang="0">
                    <a:pos x="916" y="1314"/>
                  </a:cxn>
                  <a:cxn ang="0">
                    <a:pos x="940" y="1406"/>
                  </a:cxn>
                  <a:cxn ang="0">
                    <a:pos x="956" y="1502"/>
                  </a:cxn>
                  <a:cxn ang="0">
                    <a:pos x="960" y="1600"/>
                  </a:cxn>
                  <a:cxn ang="0">
                    <a:pos x="1120" y="1756"/>
                  </a:cxn>
                  <a:cxn ang="0">
                    <a:pos x="1438" y="1756"/>
                  </a:cxn>
                  <a:cxn ang="0">
                    <a:pos x="1600" y="1600"/>
                  </a:cxn>
                </a:cxnLst>
                <a:rect l="0" t="0" r="r" b="b"/>
                <a:pathLst>
                  <a:path w="1600" h="1912">
                    <a:moveTo>
                      <a:pt x="1600" y="1600"/>
                    </a:moveTo>
                    <a:lnTo>
                      <a:pt x="1600" y="1600"/>
                    </a:lnTo>
                    <a:lnTo>
                      <a:pt x="1598" y="1518"/>
                    </a:lnTo>
                    <a:lnTo>
                      <a:pt x="1592" y="1436"/>
                    </a:lnTo>
                    <a:lnTo>
                      <a:pt x="1582" y="1356"/>
                    </a:lnTo>
                    <a:lnTo>
                      <a:pt x="1568" y="1278"/>
                    </a:lnTo>
                    <a:lnTo>
                      <a:pt x="1550" y="1200"/>
                    </a:lnTo>
                    <a:lnTo>
                      <a:pt x="1528" y="1124"/>
                    </a:lnTo>
                    <a:lnTo>
                      <a:pt x="1504" y="1050"/>
                    </a:lnTo>
                    <a:lnTo>
                      <a:pt x="1474" y="978"/>
                    </a:lnTo>
                    <a:lnTo>
                      <a:pt x="1442" y="906"/>
                    </a:lnTo>
                    <a:lnTo>
                      <a:pt x="1408" y="838"/>
                    </a:lnTo>
                    <a:lnTo>
                      <a:pt x="1368" y="770"/>
                    </a:lnTo>
                    <a:lnTo>
                      <a:pt x="1328" y="706"/>
                    </a:lnTo>
                    <a:lnTo>
                      <a:pt x="1282" y="644"/>
                    </a:lnTo>
                    <a:lnTo>
                      <a:pt x="1236" y="582"/>
                    </a:lnTo>
                    <a:lnTo>
                      <a:pt x="1186" y="524"/>
                    </a:lnTo>
                    <a:lnTo>
                      <a:pt x="1132" y="470"/>
                    </a:lnTo>
                    <a:lnTo>
                      <a:pt x="1078" y="416"/>
                    </a:lnTo>
                    <a:lnTo>
                      <a:pt x="1020" y="366"/>
                    </a:lnTo>
                    <a:lnTo>
                      <a:pt x="958" y="318"/>
                    </a:lnTo>
                    <a:lnTo>
                      <a:pt x="896" y="274"/>
                    </a:lnTo>
                    <a:lnTo>
                      <a:pt x="832" y="232"/>
                    </a:lnTo>
                    <a:lnTo>
                      <a:pt x="764" y="194"/>
                    </a:lnTo>
                    <a:lnTo>
                      <a:pt x="696" y="158"/>
                    </a:lnTo>
                    <a:lnTo>
                      <a:pt x="624" y="126"/>
                    </a:lnTo>
                    <a:lnTo>
                      <a:pt x="552" y="98"/>
                    </a:lnTo>
                    <a:lnTo>
                      <a:pt x="478" y="72"/>
                    </a:lnTo>
                    <a:lnTo>
                      <a:pt x="402" y="50"/>
                    </a:lnTo>
                    <a:lnTo>
                      <a:pt x="324" y="32"/>
                    </a:lnTo>
                    <a:lnTo>
                      <a:pt x="246" y="18"/>
                    </a:lnTo>
                    <a:lnTo>
                      <a:pt x="166" y="8"/>
                    </a:lnTo>
                    <a:lnTo>
                      <a:pt x="86" y="2"/>
                    </a:lnTo>
                    <a:lnTo>
                      <a:pt x="2" y="0"/>
                    </a:lnTo>
                    <a:lnTo>
                      <a:pt x="158" y="158"/>
                    </a:lnTo>
                    <a:lnTo>
                      <a:pt x="312" y="318"/>
                    </a:lnTo>
                    <a:lnTo>
                      <a:pt x="158" y="476"/>
                    </a:lnTo>
                    <a:lnTo>
                      <a:pt x="2" y="636"/>
                    </a:lnTo>
                    <a:lnTo>
                      <a:pt x="0" y="640"/>
                    </a:lnTo>
                    <a:lnTo>
                      <a:pt x="0" y="640"/>
                    </a:lnTo>
                    <a:lnTo>
                      <a:pt x="50" y="642"/>
                    </a:lnTo>
                    <a:lnTo>
                      <a:pt x="98" y="644"/>
                    </a:lnTo>
                    <a:lnTo>
                      <a:pt x="146" y="652"/>
                    </a:lnTo>
                    <a:lnTo>
                      <a:pt x="194" y="660"/>
                    </a:lnTo>
                    <a:lnTo>
                      <a:pt x="240" y="670"/>
                    </a:lnTo>
                    <a:lnTo>
                      <a:pt x="286" y="684"/>
                    </a:lnTo>
                    <a:lnTo>
                      <a:pt x="330" y="698"/>
                    </a:lnTo>
                    <a:lnTo>
                      <a:pt x="374" y="716"/>
                    </a:lnTo>
                    <a:lnTo>
                      <a:pt x="416" y="734"/>
                    </a:lnTo>
                    <a:lnTo>
                      <a:pt x="458" y="756"/>
                    </a:lnTo>
                    <a:lnTo>
                      <a:pt x="498" y="778"/>
                    </a:lnTo>
                    <a:lnTo>
                      <a:pt x="536" y="804"/>
                    </a:lnTo>
                    <a:lnTo>
                      <a:pt x="574" y="830"/>
                    </a:lnTo>
                    <a:lnTo>
                      <a:pt x="610" y="860"/>
                    </a:lnTo>
                    <a:lnTo>
                      <a:pt x="646" y="890"/>
                    </a:lnTo>
                    <a:lnTo>
                      <a:pt x="678" y="920"/>
                    </a:lnTo>
                    <a:lnTo>
                      <a:pt x="710" y="954"/>
                    </a:lnTo>
                    <a:lnTo>
                      <a:pt x="740" y="990"/>
                    </a:lnTo>
                    <a:lnTo>
                      <a:pt x="770" y="1026"/>
                    </a:lnTo>
                    <a:lnTo>
                      <a:pt x="796" y="1064"/>
                    </a:lnTo>
                    <a:lnTo>
                      <a:pt x="822" y="1102"/>
                    </a:lnTo>
                    <a:lnTo>
                      <a:pt x="844" y="1142"/>
                    </a:lnTo>
                    <a:lnTo>
                      <a:pt x="866" y="1184"/>
                    </a:lnTo>
                    <a:lnTo>
                      <a:pt x="884" y="1226"/>
                    </a:lnTo>
                    <a:lnTo>
                      <a:pt x="902" y="1270"/>
                    </a:lnTo>
                    <a:lnTo>
                      <a:pt x="916" y="1314"/>
                    </a:lnTo>
                    <a:lnTo>
                      <a:pt x="930" y="1360"/>
                    </a:lnTo>
                    <a:lnTo>
                      <a:pt x="940" y="1406"/>
                    </a:lnTo>
                    <a:lnTo>
                      <a:pt x="948" y="1454"/>
                    </a:lnTo>
                    <a:lnTo>
                      <a:pt x="956" y="1502"/>
                    </a:lnTo>
                    <a:lnTo>
                      <a:pt x="958" y="1550"/>
                    </a:lnTo>
                    <a:lnTo>
                      <a:pt x="960" y="1600"/>
                    </a:lnTo>
                    <a:lnTo>
                      <a:pt x="962" y="1602"/>
                    </a:lnTo>
                    <a:lnTo>
                      <a:pt x="1120" y="1756"/>
                    </a:lnTo>
                    <a:lnTo>
                      <a:pt x="1280" y="1912"/>
                    </a:lnTo>
                    <a:lnTo>
                      <a:pt x="1438" y="1756"/>
                    </a:lnTo>
                    <a:lnTo>
                      <a:pt x="1598" y="1602"/>
                    </a:lnTo>
                    <a:lnTo>
                      <a:pt x="1600" y="1600"/>
                    </a:lnTo>
                    <a:close/>
                  </a:path>
                </a:pathLst>
              </a:custGeom>
              <a:solidFill>
                <a:schemeClr val="accent2">
                  <a:lumMod val="20000"/>
                  <a:lumOff val="80000"/>
                </a:schemeClr>
              </a:solidFill>
              <a:ln w="12700" cmpd="sng">
                <a:solidFill>
                  <a:schemeClr val="accent1">
                    <a:shade val="5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fontAlgn="auto">
                  <a:spcBef>
                    <a:spcPts val="0"/>
                  </a:spcBef>
                  <a:spcAft>
                    <a:spcPts val="0"/>
                  </a:spcAft>
                  <a:defRPr/>
                </a:pPr>
                <a:endParaRPr lang="en-CA" kern="0" dirty="0">
                  <a:solidFill>
                    <a:sysClr val="windowText" lastClr="000000"/>
                  </a:solidFill>
                </a:endParaRPr>
              </a:p>
            </p:txBody>
          </p:sp>
          <p:sp>
            <p:nvSpPr>
              <p:cNvPr id="29" name="Freeform 28"/>
              <p:cNvSpPr>
                <a:spLocks/>
              </p:cNvSpPr>
              <p:nvPr/>
            </p:nvSpPr>
            <p:spPr bwMode="auto">
              <a:xfrm rot="1591251">
                <a:off x="1024218" y="2238316"/>
                <a:ext cx="1440000" cy="1080000"/>
              </a:xfrm>
              <a:custGeom>
                <a:avLst/>
                <a:gdLst/>
                <a:ahLst/>
                <a:cxnLst>
                  <a:cxn ang="0">
                    <a:pos x="0" y="312"/>
                  </a:cxn>
                  <a:cxn ang="0">
                    <a:pos x="8" y="474"/>
                  </a:cxn>
                  <a:cxn ang="0">
                    <a:pos x="32" y="634"/>
                  </a:cxn>
                  <a:cxn ang="0">
                    <a:pos x="72" y="786"/>
                  </a:cxn>
                  <a:cxn ang="0">
                    <a:pos x="126" y="934"/>
                  </a:cxn>
                  <a:cxn ang="0">
                    <a:pos x="192" y="1074"/>
                  </a:cxn>
                  <a:cxn ang="0">
                    <a:pos x="272" y="1206"/>
                  </a:cxn>
                  <a:cxn ang="0">
                    <a:pos x="364" y="1328"/>
                  </a:cxn>
                  <a:cxn ang="0">
                    <a:pos x="468" y="1442"/>
                  </a:cxn>
                  <a:cxn ang="0">
                    <a:pos x="580" y="1546"/>
                  </a:cxn>
                  <a:cxn ang="0">
                    <a:pos x="704" y="1638"/>
                  </a:cxn>
                  <a:cxn ang="0">
                    <a:pos x="836" y="1718"/>
                  </a:cxn>
                  <a:cxn ang="0">
                    <a:pos x="976" y="1784"/>
                  </a:cxn>
                  <a:cxn ang="0">
                    <a:pos x="1122" y="1838"/>
                  </a:cxn>
                  <a:cxn ang="0">
                    <a:pos x="1276" y="1878"/>
                  </a:cxn>
                  <a:cxn ang="0">
                    <a:pos x="1434" y="1902"/>
                  </a:cxn>
                  <a:cxn ang="0">
                    <a:pos x="1598" y="1912"/>
                  </a:cxn>
                  <a:cxn ang="0">
                    <a:pos x="1288" y="1594"/>
                  </a:cxn>
                  <a:cxn ang="0">
                    <a:pos x="1598" y="1276"/>
                  </a:cxn>
                  <a:cxn ang="0">
                    <a:pos x="1600" y="1272"/>
                  </a:cxn>
                  <a:cxn ang="0">
                    <a:pos x="1502" y="1266"/>
                  </a:cxn>
                  <a:cxn ang="0">
                    <a:pos x="1406" y="1252"/>
                  </a:cxn>
                  <a:cxn ang="0">
                    <a:pos x="1314" y="1228"/>
                  </a:cxn>
                  <a:cxn ang="0">
                    <a:pos x="1226" y="1196"/>
                  </a:cxn>
                  <a:cxn ang="0">
                    <a:pos x="1142" y="1156"/>
                  </a:cxn>
                  <a:cxn ang="0">
                    <a:pos x="1064" y="1108"/>
                  </a:cxn>
                  <a:cxn ang="0">
                    <a:pos x="990" y="1052"/>
                  </a:cxn>
                  <a:cxn ang="0">
                    <a:pos x="922" y="990"/>
                  </a:cxn>
                  <a:cxn ang="0">
                    <a:pos x="860" y="922"/>
                  </a:cxn>
                  <a:cxn ang="0">
                    <a:pos x="804" y="848"/>
                  </a:cxn>
                  <a:cxn ang="0">
                    <a:pos x="756" y="770"/>
                  </a:cxn>
                  <a:cxn ang="0">
                    <a:pos x="716" y="686"/>
                  </a:cxn>
                  <a:cxn ang="0">
                    <a:pos x="684" y="598"/>
                  </a:cxn>
                  <a:cxn ang="0">
                    <a:pos x="660" y="504"/>
                  </a:cxn>
                  <a:cxn ang="0">
                    <a:pos x="644" y="410"/>
                  </a:cxn>
                  <a:cxn ang="0">
                    <a:pos x="640" y="312"/>
                  </a:cxn>
                  <a:cxn ang="0">
                    <a:pos x="480" y="154"/>
                  </a:cxn>
                  <a:cxn ang="0">
                    <a:pos x="162" y="154"/>
                  </a:cxn>
                  <a:cxn ang="0">
                    <a:pos x="0" y="312"/>
                  </a:cxn>
                </a:cxnLst>
                <a:rect l="0" t="0" r="r" b="b"/>
                <a:pathLst>
                  <a:path w="1600" h="1912">
                    <a:moveTo>
                      <a:pt x="0" y="312"/>
                    </a:moveTo>
                    <a:lnTo>
                      <a:pt x="0" y="312"/>
                    </a:lnTo>
                    <a:lnTo>
                      <a:pt x="2" y="394"/>
                    </a:lnTo>
                    <a:lnTo>
                      <a:pt x="8" y="474"/>
                    </a:lnTo>
                    <a:lnTo>
                      <a:pt x="18" y="554"/>
                    </a:lnTo>
                    <a:lnTo>
                      <a:pt x="32" y="634"/>
                    </a:lnTo>
                    <a:lnTo>
                      <a:pt x="50" y="712"/>
                    </a:lnTo>
                    <a:lnTo>
                      <a:pt x="72" y="786"/>
                    </a:lnTo>
                    <a:lnTo>
                      <a:pt x="96" y="862"/>
                    </a:lnTo>
                    <a:lnTo>
                      <a:pt x="126" y="934"/>
                    </a:lnTo>
                    <a:lnTo>
                      <a:pt x="158" y="1004"/>
                    </a:lnTo>
                    <a:lnTo>
                      <a:pt x="192" y="1074"/>
                    </a:lnTo>
                    <a:lnTo>
                      <a:pt x="232" y="1140"/>
                    </a:lnTo>
                    <a:lnTo>
                      <a:pt x="272" y="1206"/>
                    </a:lnTo>
                    <a:lnTo>
                      <a:pt x="318" y="1268"/>
                    </a:lnTo>
                    <a:lnTo>
                      <a:pt x="364" y="1328"/>
                    </a:lnTo>
                    <a:lnTo>
                      <a:pt x="414" y="1386"/>
                    </a:lnTo>
                    <a:lnTo>
                      <a:pt x="468" y="1442"/>
                    </a:lnTo>
                    <a:lnTo>
                      <a:pt x="522" y="1496"/>
                    </a:lnTo>
                    <a:lnTo>
                      <a:pt x="580" y="1546"/>
                    </a:lnTo>
                    <a:lnTo>
                      <a:pt x="642" y="1592"/>
                    </a:lnTo>
                    <a:lnTo>
                      <a:pt x="704" y="1638"/>
                    </a:lnTo>
                    <a:lnTo>
                      <a:pt x="768" y="1678"/>
                    </a:lnTo>
                    <a:lnTo>
                      <a:pt x="836" y="1718"/>
                    </a:lnTo>
                    <a:lnTo>
                      <a:pt x="904" y="1752"/>
                    </a:lnTo>
                    <a:lnTo>
                      <a:pt x="976" y="1784"/>
                    </a:lnTo>
                    <a:lnTo>
                      <a:pt x="1048" y="1814"/>
                    </a:lnTo>
                    <a:lnTo>
                      <a:pt x="1122" y="1838"/>
                    </a:lnTo>
                    <a:lnTo>
                      <a:pt x="1198" y="1860"/>
                    </a:lnTo>
                    <a:lnTo>
                      <a:pt x="1276" y="1878"/>
                    </a:lnTo>
                    <a:lnTo>
                      <a:pt x="1354" y="1892"/>
                    </a:lnTo>
                    <a:lnTo>
                      <a:pt x="1434" y="1902"/>
                    </a:lnTo>
                    <a:lnTo>
                      <a:pt x="1514" y="1910"/>
                    </a:lnTo>
                    <a:lnTo>
                      <a:pt x="1598" y="1912"/>
                    </a:lnTo>
                    <a:lnTo>
                      <a:pt x="1442" y="1752"/>
                    </a:lnTo>
                    <a:lnTo>
                      <a:pt x="1288" y="1594"/>
                    </a:lnTo>
                    <a:lnTo>
                      <a:pt x="1442" y="1434"/>
                    </a:lnTo>
                    <a:lnTo>
                      <a:pt x="1598" y="1276"/>
                    </a:lnTo>
                    <a:lnTo>
                      <a:pt x="1600" y="1272"/>
                    </a:lnTo>
                    <a:lnTo>
                      <a:pt x="1600" y="1272"/>
                    </a:lnTo>
                    <a:lnTo>
                      <a:pt x="1550" y="1270"/>
                    </a:lnTo>
                    <a:lnTo>
                      <a:pt x="1502" y="1266"/>
                    </a:lnTo>
                    <a:lnTo>
                      <a:pt x="1454" y="1260"/>
                    </a:lnTo>
                    <a:lnTo>
                      <a:pt x="1406" y="1252"/>
                    </a:lnTo>
                    <a:lnTo>
                      <a:pt x="1360" y="1242"/>
                    </a:lnTo>
                    <a:lnTo>
                      <a:pt x="1314" y="1228"/>
                    </a:lnTo>
                    <a:lnTo>
                      <a:pt x="1270" y="1214"/>
                    </a:lnTo>
                    <a:lnTo>
                      <a:pt x="1226" y="1196"/>
                    </a:lnTo>
                    <a:lnTo>
                      <a:pt x="1184" y="1176"/>
                    </a:lnTo>
                    <a:lnTo>
                      <a:pt x="1142" y="1156"/>
                    </a:lnTo>
                    <a:lnTo>
                      <a:pt x="1102" y="1132"/>
                    </a:lnTo>
                    <a:lnTo>
                      <a:pt x="1064" y="1108"/>
                    </a:lnTo>
                    <a:lnTo>
                      <a:pt x="1026" y="1080"/>
                    </a:lnTo>
                    <a:lnTo>
                      <a:pt x="990" y="1052"/>
                    </a:lnTo>
                    <a:lnTo>
                      <a:pt x="954" y="1022"/>
                    </a:lnTo>
                    <a:lnTo>
                      <a:pt x="922" y="990"/>
                    </a:lnTo>
                    <a:lnTo>
                      <a:pt x="890" y="958"/>
                    </a:lnTo>
                    <a:lnTo>
                      <a:pt x="860" y="922"/>
                    </a:lnTo>
                    <a:lnTo>
                      <a:pt x="830" y="886"/>
                    </a:lnTo>
                    <a:lnTo>
                      <a:pt x="804" y="848"/>
                    </a:lnTo>
                    <a:lnTo>
                      <a:pt x="778" y="810"/>
                    </a:lnTo>
                    <a:lnTo>
                      <a:pt x="756" y="770"/>
                    </a:lnTo>
                    <a:lnTo>
                      <a:pt x="734" y="728"/>
                    </a:lnTo>
                    <a:lnTo>
                      <a:pt x="716" y="686"/>
                    </a:lnTo>
                    <a:lnTo>
                      <a:pt x="698" y="642"/>
                    </a:lnTo>
                    <a:lnTo>
                      <a:pt x="684" y="598"/>
                    </a:lnTo>
                    <a:lnTo>
                      <a:pt x="670" y="552"/>
                    </a:lnTo>
                    <a:lnTo>
                      <a:pt x="660" y="504"/>
                    </a:lnTo>
                    <a:lnTo>
                      <a:pt x="652" y="458"/>
                    </a:lnTo>
                    <a:lnTo>
                      <a:pt x="644" y="410"/>
                    </a:lnTo>
                    <a:lnTo>
                      <a:pt x="642" y="360"/>
                    </a:lnTo>
                    <a:lnTo>
                      <a:pt x="640" y="312"/>
                    </a:lnTo>
                    <a:lnTo>
                      <a:pt x="638" y="310"/>
                    </a:lnTo>
                    <a:lnTo>
                      <a:pt x="480" y="154"/>
                    </a:lnTo>
                    <a:lnTo>
                      <a:pt x="320" y="0"/>
                    </a:lnTo>
                    <a:lnTo>
                      <a:pt x="162" y="154"/>
                    </a:lnTo>
                    <a:lnTo>
                      <a:pt x="2" y="310"/>
                    </a:lnTo>
                    <a:lnTo>
                      <a:pt x="0" y="312"/>
                    </a:lnTo>
                    <a:close/>
                  </a:path>
                </a:pathLst>
              </a:custGeom>
              <a:solidFill>
                <a:schemeClr val="accent2">
                  <a:lumMod val="20000"/>
                  <a:lumOff val="80000"/>
                </a:schemeClr>
              </a:solidFill>
              <a:ln w="12700" cmpd="sng">
                <a:solidFill>
                  <a:schemeClr val="accent1">
                    <a:shade val="5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kern="0" dirty="0">
                  <a:solidFill>
                    <a:sysClr val="windowText" lastClr="000000"/>
                  </a:solidFill>
                </a:endParaRPr>
              </a:p>
            </p:txBody>
          </p:sp>
        </p:grpSp>
      </p:grpSp>
    </p:spTree>
    <p:extLst>
      <p:ext uri="{BB962C8B-B14F-4D97-AF65-F5344CB8AC3E}">
        <p14:creationId xmlns:p14="http://schemas.microsoft.com/office/powerpoint/2010/main" val="36959043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5"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21890" name="Picture 2"/>
          <p:cNvPicPr>
            <a:picLocks noChangeAspect="1" noChangeArrowheads="1"/>
          </p:cNvPicPr>
          <p:nvPr>
            <p:custDataLst>
              <p:tags r:id="rId3"/>
            </p:custDataLst>
          </p:nvPr>
        </p:nvPicPr>
        <p:blipFill>
          <a:blip r:embed="rId19" cstate="print"/>
          <a:srcRect/>
          <a:stretch>
            <a:fillRect/>
          </a:stretch>
        </p:blipFill>
        <p:spPr bwMode="auto">
          <a:xfrm>
            <a:off x="3995936" y="1952836"/>
            <a:ext cx="3200392" cy="3454391"/>
          </a:xfrm>
          <a:prstGeom prst="rect">
            <a:avLst/>
          </a:prstGeom>
          <a:noFill/>
          <a:ln w="9525">
            <a:noFill/>
            <a:miter lim="800000"/>
            <a:headEnd/>
            <a:tailEnd/>
          </a:ln>
        </p:spPr>
      </p:pic>
      <p:sp>
        <p:nvSpPr>
          <p:cNvPr id="28" name="Left-Up Arrow 27"/>
          <p:cNvSpPr/>
          <p:nvPr>
            <p:custDataLst>
              <p:tags r:id="rId4"/>
            </p:custDataLst>
          </p:nvPr>
        </p:nvSpPr>
        <p:spPr>
          <a:xfrm rot="16200000">
            <a:off x="5697357" y="2232139"/>
            <a:ext cx="1750471" cy="2417009"/>
          </a:xfrm>
          <a:prstGeom prst="leftUpArrow">
            <a:avLst>
              <a:gd name="adj1" fmla="val 7588"/>
              <a:gd name="adj2" fmla="val 11224"/>
              <a:gd name="adj3" fmla="val 24275"/>
            </a:avLst>
          </a:prstGeom>
          <a:solidFill>
            <a:srgbClr val="D17D08"/>
          </a:solidFill>
          <a:ln>
            <a:solidFill>
              <a:srgbClr val="2240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4"/>
          <p:cNvSpPr>
            <a:spLocks noGrp="1"/>
          </p:cNvSpPr>
          <p:nvPr>
            <p:ph type="title"/>
            <p:custDataLst>
              <p:tags r:id="rId5"/>
            </p:custDataLst>
          </p:nvPr>
        </p:nvSpPr>
        <p:spPr>
          <a:xfrm>
            <a:off x="251520" y="260648"/>
            <a:ext cx="7214970" cy="864096"/>
          </a:xfrm>
        </p:spPr>
        <p:txBody>
          <a:bodyPr/>
          <a:lstStyle/>
          <a:p>
            <a:r>
              <a:rPr lang="en-US" dirty="0" smtClean="0"/>
              <a:t>Finalize, and present the risk mitigation plan using Info-Tech’s </a:t>
            </a:r>
            <a:r>
              <a:rPr lang="en-US" dirty="0" smtClean="0">
                <a:hlinkClick r:id="rId20"/>
              </a:rPr>
              <a:t>Risk Management Action Plan template</a:t>
            </a:r>
            <a:endParaRPr lang="en-US" i="1" dirty="0"/>
          </a:p>
        </p:txBody>
      </p:sp>
      <p:grpSp>
        <p:nvGrpSpPr>
          <p:cNvPr id="2" name="Group 33"/>
          <p:cNvGrpSpPr/>
          <p:nvPr>
            <p:custDataLst>
              <p:tags r:id="rId6"/>
            </p:custDataLst>
          </p:nvPr>
        </p:nvGrpSpPr>
        <p:grpSpPr>
          <a:xfrm>
            <a:off x="251520" y="1971419"/>
            <a:ext cx="3672408" cy="3969436"/>
            <a:chOff x="5543549" y="2724151"/>
            <a:chExt cx="3295651" cy="2492705"/>
          </a:xfrm>
          <a:effectLst>
            <a:outerShdw blurRad="50800" dist="38100" dir="5400000" algn="t" rotWithShape="0">
              <a:prstClr val="black">
                <a:alpha val="40000"/>
              </a:prstClr>
            </a:outerShdw>
          </a:effectLst>
        </p:grpSpPr>
        <p:sp>
          <p:nvSpPr>
            <p:cNvPr id="14" name="Rectangle 13"/>
            <p:cNvSpPr/>
            <p:nvPr/>
          </p:nvSpPr>
          <p:spPr>
            <a:xfrm>
              <a:off x="5543549" y="2967849"/>
              <a:ext cx="3295651" cy="2249007"/>
            </a:xfrm>
            <a:prstGeom prst="rect">
              <a:avLst/>
            </a:prstGeom>
            <a:solidFill>
              <a:schemeClr val="bg1"/>
            </a:solidFill>
            <a:ln w="9525">
              <a:solidFill>
                <a:schemeClr val="tx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171450" indent="-111125" fontAlgn="base">
                <a:spcBef>
                  <a:spcPct val="0"/>
                </a:spcBef>
                <a:spcAft>
                  <a:spcPct val="0"/>
                </a:spcAft>
                <a:buFont typeface="Arial" pitchFamily="34" charset="0"/>
                <a:buChar char="•"/>
              </a:pPr>
              <a:endParaRPr lang="en-CA" sz="1200" dirty="0">
                <a:solidFill>
                  <a:srgbClr val="333333"/>
                </a:solidFill>
              </a:endParaRPr>
            </a:p>
            <a:p>
              <a:pPr marL="171450" indent="-111125" fontAlgn="base">
                <a:spcBef>
                  <a:spcPct val="0"/>
                </a:spcBef>
                <a:spcAft>
                  <a:spcPct val="0"/>
                </a:spcAft>
              </a:pPr>
              <a:endParaRPr lang="en-CA" sz="1200" dirty="0">
                <a:solidFill>
                  <a:srgbClr val="333333"/>
                </a:solidFill>
              </a:endParaRPr>
            </a:p>
          </p:txBody>
        </p:sp>
        <p:sp>
          <p:nvSpPr>
            <p:cNvPr id="15" name="Round Same Side Corner Rectangle 14"/>
            <p:cNvSpPr/>
            <p:nvPr/>
          </p:nvSpPr>
          <p:spPr>
            <a:xfrm>
              <a:off x="5543550" y="2724151"/>
              <a:ext cx="3295650" cy="299891"/>
            </a:xfrm>
            <a:prstGeom prst="round2SameRect">
              <a:avLst>
                <a:gd name="adj1" fmla="val 10667"/>
                <a:gd name="adj2" fmla="val 0"/>
              </a:avLst>
            </a:prstGeom>
            <a:solidFill>
              <a:srgbClr val="DDDEC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400" b="1" dirty="0" smtClean="0">
                  <a:solidFill>
                    <a:schemeClr val="tx1"/>
                  </a:solidFill>
                </a:rPr>
                <a:t>Why and how to use this template:</a:t>
              </a:r>
              <a:endParaRPr lang="en-CA" sz="1400" b="1" dirty="0">
                <a:solidFill>
                  <a:schemeClr val="tx1"/>
                </a:solidFill>
              </a:endParaRPr>
            </a:p>
          </p:txBody>
        </p:sp>
      </p:grpSp>
      <p:sp>
        <p:nvSpPr>
          <p:cNvPr id="17" name="Text Placeholder 2"/>
          <p:cNvSpPr txBox="1">
            <a:spLocks/>
          </p:cNvSpPr>
          <p:nvPr>
            <p:custDataLst>
              <p:tags r:id="rId7"/>
            </p:custDataLst>
          </p:nvPr>
        </p:nvSpPr>
        <p:spPr>
          <a:xfrm>
            <a:off x="1172890" y="1253340"/>
            <a:ext cx="7637338" cy="739168"/>
          </a:xfrm>
          <a:prstGeom prst="rect">
            <a:avLst/>
          </a:prstGeom>
          <a:noFill/>
          <a:ln>
            <a:noFill/>
          </a:ln>
        </p:spPr>
        <p:txBody>
          <a:bodyPr anchor="ctr"/>
          <a:lstStyle/>
          <a:p>
            <a:pPr eaLnBrk="0" fontAlgn="base" hangingPunct="0">
              <a:spcBef>
                <a:spcPct val="20000"/>
              </a:spcBef>
              <a:spcAft>
                <a:spcPct val="0"/>
              </a:spcAft>
              <a:buClr>
                <a:srgbClr val="333333"/>
              </a:buClr>
              <a:buSzPct val="120000"/>
              <a:defRPr/>
            </a:pPr>
            <a:r>
              <a:rPr lang="en-US" sz="1400" b="1" dirty="0" smtClean="0">
                <a:solidFill>
                  <a:srgbClr val="333333"/>
                </a:solidFill>
              </a:rPr>
              <a:t>. </a:t>
            </a:r>
            <a:endParaRPr lang="en-US" sz="1400" b="1" dirty="0">
              <a:solidFill>
                <a:srgbClr val="333333"/>
              </a:solidFill>
            </a:endParaRPr>
          </a:p>
        </p:txBody>
      </p:sp>
      <p:sp>
        <p:nvSpPr>
          <p:cNvPr id="5" name="Rectangle 4"/>
          <p:cNvSpPr/>
          <p:nvPr>
            <p:custDataLst>
              <p:tags r:id="rId8"/>
            </p:custDataLst>
          </p:nvPr>
        </p:nvSpPr>
        <p:spPr>
          <a:xfrm>
            <a:off x="314201" y="2479936"/>
            <a:ext cx="3531121" cy="3416320"/>
          </a:xfrm>
          <a:prstGeom prst="rect">
            <a:avLst/>
          </a:prstGeom>
        </p:spPr>
        <p:txBody>
          <a:bodyPr wrap="square">
            <a:spAutoFit/>
          </a:bodyPr>
          <a:lstStyle/>
          <a:p>
            <a:pPr algn="l"/>
            <a:r>
              <a:rPr lang="en-US" sz="1200" dirty="0" smtClean="0"/>
              <a:t>A </a:t>
            </a:r>
            <a:r>
              <a:rPr lang="en-US" sz="1200" b="1" dirty="0" smtClean="0">
                <a:hlinkClick r:id="rId20"/>
              </a:rPr>
              <a:t>Risk Management Action Plan Template</a:t>
            </a:r>
            <a:r>
              <a:rPr lang="en-US" sz="1200" b="1" dirty="0" smtClean="0"/>
              <a:t> </a:t>
            </a:r>
            <a:r>
              <a:rPr lang="en-US" sz="1200" dirty="0" smtClean="0"/>
              <a:t>is meant to be used in conjunction with the </a:t>
            </a:r>
            <a:r>
              <a:rPr lang="en-US" sz="1200" i="1" dirty="0" smtClean="0"/>
              <a:t>WCO IT Risk Profile Tool</a:t>
            </a:r>
            <a:r>
              <a:rPr lang="en-US" sz="1200" dirty="0" smtClean="0"/>
              <a:t> to select, prioritize, and present a set of discrete risk mitigation actions. This template allows the IT leader, or other responsible parties, to communicate to relevant stakeholders the main risk mitigation actions that will be taken once the organization’s risk profile has been completed or updated. The majority of the information asked for can be taken directly from the completed </a:t>
            </a:r>
            <a:r>
              <a:rPr lang="en-US" sz="1200" dirty="0" smtClean="0">
                <a:hlinkClick r:id="rId21"/>
              </a:rPr>
              <a:t>WCO IT Risk Profile Tool</a:t>
            </a:r>
            <a:r>
              <a:rPr lang="en-US" sz="1200" dirty="0" smtClean="0"/>
              <a:t> (specifically, the tab labeled “7. Risk Reporting”).</a:t>
            </a:r>
          </a:p>
          <a:p>
            <a:pPr algn="l"/>
            <a:r>
              <a:rPr lang="en-US" sz="1200" dirty="0" smtClean="0"/>
              <a:t> </a:t>
            </a:r>
          </a:p>
          <a:p>
            <a:pPr algn="l"/>
            <a:r>
              <a:rPr lang="en-US" sz="1200" dirty="0" smtClean="0"/>
              <a:t>Modify this template to suit enterprise needs. Supply the appropriate company-specific information wherever square brackets are present (e.g. [company name]). Also be sure to delete any other grey text.</a:t>
            </a:r>
          </a:p>
        </p:txBody>
      </p:sp>
      <p:grpSp>
        <p:nvGrpSpPr>
          <p:cNvPr id="3" name="Group 85"/>
          <p:cNvGrpSpPr/>
          <p:nvPr>
            <p:custDataLst>
              <p:tags r:id="rId9"/>
            </p:custDataLst>
          </p:nvPr>
        </p:nvGrpSpPr>
        <p:grpSpPr>
          <a:xfrm>
            <a:off x="8136397" y="332656"/>
            <a:ext cx="684075" cy="684075"/>
            <a:chOff x="2555776" y="3284984"/>
            <a:chExt cx="2556284" cy="2556284"/>
          </a:xfrm>
          <a:solidFill>
            <a:schemeClr val="accent2">
              <a:lumMod val="20000"/>
              <a:lumOff val="80000"/>
            </a:schemeClr>
          </a:solidFill>
        </p:grpSpPr>
        <p:sp>
          <p:nvSpPr>
            <p:cNvPr id="19" name="Oval 18"/>
            <p:cNvSpPr/>
            <p:nvPr>
              <p:custDataLst>
                <p:tags r:id="rId14"/>
              </p:custDataLst>
            </p:nvPr>
          </p:nvSpPr>
          <p:spPr>
            <a:xfrm>
              <a:off x="2555776" y="3284984"/>
              <a:ext cx="2556284" cy="2556284"/>
            </a:xfrm>
            <a:prstGeom prst="ellipse">
              <a:avLst/>
            </a:prstGeom>
            <a:solidFill>
              <a:schemeClr val="accent1">
                <a:lumMod val="40000"/>
                <a:lumOff val="60000"/>
              </a:schemeClr>
            </a:solidFill>
            <a:ln w="12700" cap="flat" cmpd="sng" algn="ctr">
              <a:solidFill>
                <a:schemeClr val="accent1">
                  <a:shade val="50000"/>
                </a:schemeClr>
              </a:solidFill>
              <a:prstDash val="solid"/>
            </a:ln>
            <a:effectLst/>
          </p:spPr>
          <p:txBody>
            <a:bodyPr rtlCol="0" anchor="ctr"/>
            <a:lstStyle/>
            <a:p>
              <a:pPr fontAlgn="auto">
                <a:spcBef>
                  <a:spcPts val="0"/>
                </a:spcBef>
                <a:spcAft>
                  <a:spcPts val="0"/>
                </a:spcAft>
                <a:defRPr/>
              </a:pPr>
              <a:endParaRPr lang="en-CA" kern="0" dirty="0">
                <a:solidFill>
                  <a:srgbClr val="FFFFFF"/>
                </a:solidFill>
                <a:latin typeface="Arial"/>
              </a:endParaRPr>
            </a:p>
          </p:txBody>
        </p:sp>
        <p:grpSp>
          <p:nvGrpSpPr>
            <p:cNvPr id="4" name="Group 35"/>
            <p:cNvGrpSpPr/>
            <p:nvPr/>
          </p:nvGrpSpPr>
          <p:grpSpPr>
            <a:xfrm>
              <a:off x="2706440" y="3658476"/>
              <a:ext cx="2174369" cy="1619105"/>
              <a:chOff x="1024218" y="1778669"/>
              <a:chExt cx="2174369" cy="1619105"/>
            </a:xfrm>
            <a:grpFill/>
          </p:grpSpPr>
          <p:sp>
            <p:nvSpPr>
              <p:cNvPr id="21" name="Oval 20"/>
              <p:cNvSpPr/>
              <p:nvPr/>
            </p:nvSpPr>
            <p:spPr>
              <a:xfrm>
                <a:off x="1554657" y="2269273"/>
                <a:ext cx="1152128" cy="864096"/>
              </a:xfrm>
              <a:prstGeom prst="ellipse">
                <a:avLst/>
              </a:prstGeom>
              <a:grpFill/>
              <a:ln w="12700" cap="flat" cmpd="sng" algn="ctr">
                <a:solidFill>
                  <a:schemeClr val="accent1">
                    <a:shade val="50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endParaRPr lang="en-US" sz="1200" i="1" kern="0" dirty="0">
                  <a:solidFill>
                    <a:srgbClr val="333333"/>
                  </a:solidFill>
                </a:endParaRPr>
              </a:p>
            </p:txBody>
          </p:sp>
          <p:sp>
            <p:nvSpPr>
              <p:cNvPr id="22" name="Freeform 6"/>
              <p:cNvSpPr>
                <a:spLocks/>
              </p:cNvSpPr>
              <p:nvPr/>
            </p:nvSpPr>
            <p:spPr bwMode="auto">
              <a:xfrm rot="20535687">
                <a:off x="1758587" y="2317774"/>
                <a:ext cx="1440000" cy="1080000"/>
              </a:xfrm>
              <a:custGeom>
                <a:avLst/>
                <a:gdLst/>
                <a:ahLst/>
                <a:cxnLst>
                  <a:cxn ang="0">
                    <a:pos x="312" y="1600"/>
                  </a:cxn>
                  <a:cxn ang="0">
                    <a:pos x="476" y="1592"/>
                  </a:cxn>
                  <a:cxn ang="0">
                    <a:pos x="634" y="1566"/>
                  </a:cxn>
                  <a:cxn ang="0">
                    <a:pos x="788" y="1528"/>
                  </a:cxn>
                  <a:cxn ang="0">
                    <a:pos x="934" y="1474"/>
                  </a:cxn>
                  <a:cxn ang="0">
                    <a:pos x="1074" y="1406"/>
                  </a:cxn>
                  <a:cxn ang="0">
                    <a:pos x="1206" y="1326"/>
                  </a:cxn>
                  <a:cxn ang="0">
                    <a:pos x="1330" y="1234"/>
                  </a:cxn>
                  <a:cxn ang="0">
                    <a:pos x="1442" y="1132"/>
                  </a:cxn>
                  <a:cxn ang="0">
                    <a:pos x="1546" y="1018"/>
                  </a:cxn>
                  <a:cxn ang="0">
                    <a:pos x="1638" y="896"/>
                  </a:cxn>
                  <a:cxn ang="0">
                    <a:pos x="1718" y="764"/>
                  </a:cxn>
                  <a:cxn ang="0">
                    <a:pos x="1786" y="624"/>
                  </a:cxn>
                  <a:cxn ang="0">
                    <a:pos x="1840" y="478"/>
                  </a:cxn>
                  <a:cxn ang="0">
                    <a:pos x="1880" y="324"/>
                  </a:cxn>
                  <a:cxn ang="0">
                    <a:pos x="1904" y="166"/>
                  </a:cxn>
                  <a:cxn ang="0">
                    <a:pos x="1912" y="2"/>
                  </a:cxn>
                  <a:cxn ang="0">
                    <a:pos x="1594" y="312"/>
                  </a:cxn>
                  <a:cxn ang="0">
                    <a:pos x="1276" y="2"/>
                  </a:cxn>
                  <a:cxn ang="0">
                    <a:pos x="1272" y="0"/>
                  </a:cxn>
                  <a:cxn ang="0">
                    <a:pos x="1268" y="98"/>
                  </a:cxn>
                  <a:cxn ang="0">
                    <a:pos x="1252" y="192"/>
                  </a:cxn>
                  <a:cxn ang="0">
                    <a:pos x="1228" y="284"/>
                  </a:cxn>
                  <a:cxn ang="0">
                    <a:pos x="1196" y="374"/>
                  </a:cxn>
                  <a:cxn ang="0">
                    <a:pos x="1156" y="458"/>
                  </a:cxn>
                  <a:cxn ang="0">
                    <a:pos x="1108" y="536"/>
                  </a:cxn>
                  <a:cxn ang="0">
                    <a:pos x="1052" y="610"/>
                  </a:cxn>
                  <a:cxn ang="0">
                    <a:pos x="992" y="678"/>
                  </a:cxn>
                  <a:cxn ang="0">
                    <a:pos x="922" y="740"/>
                  </a:cxn>
                  <a:cxn ang="0">
                    <a:pos x="848" y="796"/>
                  </a:cxn>
                  <a:cxn ang="0">
                    <a:pos x="770" y="844"/>
                  </a:cxn>
                  <a:cxn ang="0">
                    <a:pos x="686" y="884"/>
                  </a:cxn>
                  <a:cxn ang="0">
                    <a:pos x="598" y="916"/>
                  </a:cxn>
                  <a:cxn ang="0">
                    <a:pos x="506" y="940"/>
                  </a:cxn>
                  <a:cxn ang="0">
                    <a:pos x="410" y="954"/>
                  </a:cxn>
                  <a:cxn ang="0">
                    <a:pos x="312" y="960"/>
                  </a:cxn>
                  <a:cxn ang="0">
                    <a:pos x="156" y="1120"/>
                  </a:cxn>
                  <a:cxn ang="0">
                    <a:pos x="156" y="1438"/>
                  </a:cxn>
                  <a:cxn ang="0">
                    <a:pos x="312" y="1600"/>
                  </a:cxn>
                </a:cxnLst>
                <a:rect l="0" t="0" r="r" b="b"/>
                <a:pathLst>
                  <a:path w="1912" h="1600">
                    <a:moveTo>
                      <a:pt x="312" y="1600"/>
                    </a:moveTo>
                    <a:lnTo>
                      <a:pt x="312" y="1600"/>
                    </a:lnTo>
                    <a:lnTo>
                      <a:pt x="394" y="1598"/>
                    </a:lnTo>
                    <a:lnTo>
                      <a:pt x="476" y="1592"/>
                    </a:lnTo>
                    <a:lnTo>
                      <a:pt x="556" y="1580"/>
                    </a:lnTo>
                    <a:lnTo>
                      <a:pt x="634" y="1566"/>
                    </a:lnTo>
                    <a:lnTo>
                      <a:pt x="712" y="1550"/>
                    </a:lnTo>
                    <a:lnTo>
                      <a:pt x="788" y="1528"/>
                    </a:lnTo>
                    <a:lnTo>
                      <a:pt x="862" y="1502"/>
                    </a:lnTo>
                    <a:lnTo>
                      <a:pt x="934" y="1474"/>
                    </a:lnTo>
                    <a:lnTo>
                      <a:pt x="1006" y="1442"/>
                    </a:lnTo>
                    <a:lnTo>
                      <a:pt x="1074" y="1406"/>
                    </a:lnTo>
                    <a:lnTo>
                      <a:pt x="1142" y="1368"/>
                    </a:lnTo>
                    <a:lnTo>
                      <a:pt x="1206" y="1326"/>
                    </a:lnTo>
                    <a:lnTo>
                      <a:pt x="1268" y="1282"/>
                    </a:lnTo>
                    <a:lnTo>
                      <a:pt x="1330" y="1234"/>
                    </a:lnTo>
                    <a:lnTo>
                      <a:pt x="1388" y="1184"/>
                    </a:lnTo>
                    <a:lnTo>
                      <a:pt x="1442" y="1132"/>
                    </a:lnTo>
                    <a:lnTo>
                      <a:pt x="1496" y="1076"/>
                    </a:lnTo>
                    <a:lnTo>
                      <a:pt x="1546" y="1018"/>
                    </a:lnTo>
                    <a:lnTo>
                      <a:pt x="1594" y="958"/>
                    </a:lnTo>
                    <a:lnTo>
                      <a:pt x="1638" y="896"/>
                    </a:lnTo>
                    <a:lnTo>
                      <a:pt x="1680" y="830"/>
                    </a:lnTo>
                    <a:lnTo>
                      <a:pt x="1718" y="764"/>
                    </a:lnTo>
                    <a:lnTo>
                      <a:pt x="1754" y="694"/>
                    </a:lnTo>
                    <a:lnTo>
                      <a:pt x="1786" y="624"/>
                    </a:lnTo>
                    <a:lnTo>
                      <a:pt x="1814" y="552"/>
                    </a:lnTo>
                    <a:lnTo>
                      <a:pt x="1840" y="478"/>
                    </a:lnTo>
                    <a:lnTo>
                      <a:pt x="1862" y="402"/>
                    </a:lnTo>
                    <a:lnTo>
                      <a:pt x="1880" y="324"/>
                    </a:lnTo>
                    <a:lnTo>
                      <a:pt x="1894" y="246"/>
                    </a:lnTo>
                    <a:lnTo>
                      <a:pt x="1904" y="166"/>
                    </a:lnTo>
                    <a:lnTo>
                      <a:pt x="1910" y="84"/>
                    </a:lnTo>
                    <a:lnTo>
                      <a:pt x="1912" y="2"/>
                    </a:lnTo>
                    <a:lnTo>
                      <a:pt x="1754" y="158"/>
                    </a:lnTo>
                    <a:lnTo>
                      <a:pt x="1594" y="312"/>
                    </a:lnTo>
                    <a:lnTo>
                      <a:pt x="1436" y="158"/>
                    </a:lnTo>
                    <a:lnTo>
                      <a:pt x="1276" y="2"/>
                    </a:lnTo>
                    <a:lnTo>
                      <a:pt x="1272" y="0"/>
                    </a:lnTo>
                    <a:lnTo>
                      <a:pt x="1272" y="0"/>
                    </a:lnTo>
                    <a:lnTo>
                      <a:pt x="1270" y="48"/>
                    </a:lnTo>
                    <a:lnTo>
                      <a:pt x="1268" y="98"/>
                    </a:lnTo>
                    <a:lnTo>
                      <a:pt x="1260" y="146"/>
                    </a:lnTo>
                    <a:lnTo>
                      <a:pt x="1252" y="192"/>
                    </a:lnTo>
                    <a:lnTo>
                      <a:pt x="1242" y="240"/>
                    </a:lnTo>
                    <a:lnTo>
                      <a:pt x="1228" y="284"/>
                    </a:lnTo>
                    <a:lnTo>
                      <a:pt x="1214" y="330"/>
                    </a:lnTo>
                    <a:lnTo>
                      <a:pt x="1196" y="374"/>
                    </a:lnTo>
                    <a:lnTo>
                      <a:pt x="1178" y="416"/>
                    </a:lnTo>
                    <a:lnTo>
                      <a:pt x="1156" y="458"/>
                    </a:lnTo>
                    <a:lnTo>
                      <a:pt x="1134" y="498"/>
                    </a:lnTo>
                    <a:lnTo>
                      <a:pt x="1108" y="536"/>
                    </a:lnTo>
                    <a:lnTo>
                      <a:pt x="1082" y="574"/>
                    </a:lnTo>
                    <a:lnTo>
                      <a:pt x="1052" y="610"/>
                    </a:lnTo>
                    <a:lnTo>
                      <a:pt x="1022" y="644"/>
                    </a:lnTo>
                    <a:lnTo>
                      <a:pt x="992" y="678"/>
                    </a:lnTo>
                    <a:lnTo>
                      <a:pt x="958" y="710"/>
                    </a:lnTo>
                    <a:lnTo>
                      <a:pt x="922" y="740"/>
                    </a:lnTo>
                    <a:lnTo>
                      <a:pt x="886" y="768"/>
                    </a:lnTo>
                    <a:lnTo>
                      <a:pt x="848" y="796"/>
                    </a:lnTo>
                    <a:lnTo>
                      <a:pt x="810" y="820"/>
                    </a:lnTo>
                    <a:lnTo>
                      <a:pt x="770" y="844"/>
                    </a:lnTo>
                    <a:lnTo>
                      <a:pt x="728" y="864"/>
                    </a:lnTo>
                    <a:lnTo>
                      <a:pt x="686" y="884"/>
                    </a:lnTo>
                    <a:lnTo>
                      <a:pt x="642" y="902"/>
                    </a:lnTo>
                    <a:lnTo>
                      <a:pt x="598" y="916"/>
                    </a:lnTo>
                    <a:lnTo>
                      <a:pt x="552" y="930"/>
                    </a:lnTo>
                    <a:lnTo>
                      <a:pt x="506" y="940"/>
                    </a:lnTo>
                    <a:lnTo>
                      <a:pt x="458" y="948"/>
                    </a:lnTo>
                    <a:lnTo>
                      <a:pt x="410" y="954"/>
                    </a:lnTo>
                    <a:lnTo>
                      <a:pt x="362" y="958"/>
                    </a:lnTo>
                    <a:lnTo>
                      <a:pt x="312" y="960"/>
                    </a:lnTo>
                    <a:lnTo>
                      <a:pt x="310" y="962"/>
                    </a:lnTo>
                    <a:lnTo>
                      <a:pt x="156" y="1120"/>
                    </a:lnTo>
                    <a:lnTo>
                      <a:pt x="0" y="1280"/>
                    </a:lnTo>
                    <a:lnTo>
                      <a:pt x="156" y="1438"/>
                    </a:lnTo>
                    <a:lnTo>
                      <a:pt x="310" y="1596"/>
                    </a:lnTo>
                    <a:lnTo>
                      <a:pt x="312" y="1600"/>
                    </a:lnTo>
                    <a:close/>
                  </a:path>
                </a:pathLst>
              </a:custGeom>
              <a:solidFill>
                <a:schemeClr val="accent2">
                  <a:lumMod val="20000"/>
                  <a:lumOff val="80000"/>
                </a:schemeClr>
              </a:solidFill>
              <a:ln w="12700" cmpd="sng">
                <a:solidFill>
                  <a:schemeClr val="accent1">
                    <a:shade val="5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kern="0" dirty="0">
                  <a:solidFill>
                    <a:sysClr val="windowText" lastClr="000000"/>
                  </a:solidFill>
                </a:endParaRPr>
              </a:p>
            </p:txBody>
          </p:sp>
          <p:sp>
            <p:nvSpPr>
              <p:cNvPr id="23" name="Freeform 22"/>
              <p:cNvSpPr>
                <a:spLocks/>
              </p:cNvSpPr>
              <p:nvPr/>
            </p:nvSpPr>
            <p:spPr bwMode="auto">
              <a:xfrm rot="19822024">
                <a:off x="1485599" y="1778669"/>
                <a:ext cx="1438255" cy="1080000"/>
              </a:xfrm>
              <a:custGeom>
                <a:avLst/>
                <a:gdLst/>
                <a:ahLst/>
                <a:cxnLst>
                  <a:cxn ang="0">
                    <a:pos x="1600" y="1600"/>
                  </a:cxn>
                  <a:cxn ang="0">
                    <a:pos x="1592" y="1436"/>
                  </a:cxn>
                  <a:cxn ang="0">
                    <a:pos x="1568" y="1278"/>
                  </a:cxn>
                  <a:cxn ang="0">
                    <a:pos x="1528" y="1124"/>
                  </a:cxn>
                  <a:cxn ang="0">
                    <a:pos x="1474" y="978"/>
                  </a:cxn>
                  <a:cxn ang="0">
                    <a:pos x="1408" y="838"/>
                  </a:cxn>
                  <a:cxn ang="0">
                    <a:pos x="1328" y="706"/>
                  </a:cxn>
                  <a:cxn ang="0">
                    <a:pos x="1236" y="582"/>
                  </a:cxn>
                  <a:cxn ang="0">
                    <a:pos x="1132" y="470"/>
                  </a:cxn>
                  <a:cxn ang="0">
                    <a:pos x="1020" y="366"/>
                  </a:cxn>
                  <a:cxn ang="0">
                    <a:pos x="896" y="274"/>
                  </a:cxn>
                  <a:cxn ang="0">
                    <a:pos x="764" y="194"/>
                  </a:cxn>
                  <a:cxn ang="0">
                    <a:pos x="624" y="126"/>
                  </a:cxn>
                  <a:cxn ang="0">
                    <a:pos x="478" y="72"/>
                  </a:cxn>
                  <a:cxn ang="0">
                    <a:pos x="324" y="32"/>
                  </a:cxn>
                  <a:cxn ang="0">
                    <a:pos x="166" y="8"/>
                  </a:cxn>
                  <a:cxn ang="0">
                    <a:pos x="2" y="0"/>
                  </a:cxn>
                  <a:cxn ang="0">
                    <a:pos x="312" y="318"/>
                  </a:cxn>
                  <a:cxn ang="0">
                    <a:pos x="2" y="636"/>
                  </a:cxn>
                  <a:cxn ang="0">
                    <a:pos x="0" y="640"/>
                  </a:cxn>
                  <a:cxn ang="0">
                    <a:pos x="98" y="644"/>
                  </a:cxn>
                  <a:cxn ang="0">
                    <a:pos x="194" y="660"/>
                  </a:cxn>
                  <a:cxn ang="0">
                    <a:pos x="286" y="684"/>
                  </a:cxn>
                  <a:cxn ang="0">
                    <a:pos x="374" y="716"/>
                  </a:cxn>
                  <a:cxn ang="0">
                    <a:pos x="458" y="756"/>
                  </a:cxn>
                  <a:cxn ang="0">
                    <a:pos x="536" y="804"/>
                  </a:cxn>
                  <a:cxn ang="0">
                    <a:pos x="610" y="860"/>
                  </a:cxn>
                  <a:cxn ang="0">
                    <a:pos x="678" y="920"/>
                  </a:cxn>
                  <a:cxn ang="0">
                    <a:pos x="740" y="990"/>
                  </a:cxn>
                  <a:cxn ang="0">
                    <a:pos x="796" y="1064"/>
                  </a:cxn>
                  <a:cxn ang="0">
                    <a:pos x="844" y="1142"/>
                  </a:cxn>
                  <a:cxn ang="0">
                    <a:pos x="884" y="1226"/>
                  </a:cxn>
                  <a:cxn ang="0">
                    <a:pos x="916" y="1314"/>
                  </a:cxn>
                  <a:cxn ang="0">
                    <a:pos x="940" y="1406"/>
                  </a:cxn>
                  <a:cxn ang="0">
                    <a:pos x="956" y="1502"/>
                  </a:cxn>
                  <a:cxn ang="0">
                    <a:pos x="960" y="1600"/>
                  </a:cxn>
                  <a:cxn ang="0">
                    <a:pos x="1120" y="1756"/>
                  </a:cxn>
                  <a:cxn ang="0">
                    <a:pos x="1438" y="1756"/>
                  </a:cxn>
                  <a:cxn ang="0">
                    <a:pos x="1600" y="1600"/>
                  </a:cxn>
                </a:cxnLst>
                <a:rect l="0" t="0" r="r" b="b"/>
                <a:pathLst>
                  <a:path w="1600" h="1912">
                    <a:moveTo>
                      <a:pt x="1600" y="1600"/>
                    </a:moveTo>
                    <a:lnTo>
                      <a:pt x="1600" y="1600"/>
                    </a:lnTo>
                    <a:lnTo>
                      <a:pt x="1598" y="1518"/>
                    </a:lnTo>
                    <a:lnTo>
                      <a:pt x="1592" y="1436"/>
                    </a:lnTo>
                    <a:lnTo>
                      <a:pt x="1582" y="1356"/>
                    </a:lnTo>
                    <a:lnTo>
                      <a:pt x="1568" y="1278"/>
                    </a:lnTo>
                    <a:lnTo>
                      <a:pt x="1550" y="1200"/>
                    </a:lnTo>
                    <a:lnTo>
                      <a:pt x="1528" y="1124"/>
                    </a:lnTo>
                    <a:lnTo>
                      <a:pt x="1504" y="1050"/>
                    </a:lnTo>
                    <a:lnTo>
                      <a:pt x="1474" y="978"/>
                    </a:lnTo>
                    <a:lnTo>
                      <a:pt x="1442" y="906"/>
                    </a:lnTo>
                    <a:lnTo>
                      <a:pt x="1408" y="838"/>
                    </a:lnTo>
                    <a:lnTo>
                      <a:pt x="1368" y="770"/>
                    </a:lnTo>
                    <a:lnTo>
                      <a:pt x="1328" y="706"/>
                    </a:lnTo>
                    <a:lnTo>
                      <a:pt x="1282" y="644"/>
                    </a:lnTo>
                    <a:lnTo>
                      <a:pt x="1236" y="582"/>
                    </a:lnTo>
                    <a:lnTo>
                      <a:pt x="1186" y="524"/>
                    </a:lnTo>
                    <a:lnTo>
                      <a:pt x="1132" y="470"/>
                    </a:lnTo>
                    <a:lnTo>
                      <a:pt x="1078" y="416"/>
                    </a:lnTo>
                    <a:lnTo>
                      <a:pt x="1020" y="366"/>
                    </a:lnTo>
                    <a:lnTo>
                      <a:pt x="958" y="318"/>
                    </a:lnTo>
                    <a:lnTo>
                      <a:pt x="896" y="274"/>
                    </a:lnTo>
                    <a:lnTo>
                      <a:pt x="832" y="232"/>
                    </a:lnTo>
                    <a:lnTo>
                      <a:pt x="764" y="194"/>
                    </a:lnTo>
                    <a:lnTo>
                      <a:pt x="696" y="158"/>
                    </a:lnTo>
                    <a:lnTo>
                      <a:pt x="624" y="126"/>
                    </a:lnTo>
                    <a:lnTo>
                      <a:pt x="552" y="98"/>
                    </a:lnTo>
                    <a:lnTo>
                      <a:pt x="478" y="72"/>
                    </a:lnTo>
                    <a:lnTo>
                      <a:pt x="402" y="50"/>
                    </a:lnTo>
                    <a:lnTo>
                      <a:pt x="324" y="32"/>
                    </a:lnTo>
                    <a:lnTo>
                      <a:pt x="246" y="18"/>
                    </a:lnTo>
                    <a:lnTo>
                      <a:pt x="166" y="8"/>
                    </a:lnTo>
                    <a:lnTo>
                      <a:pt x="86" y="2"/>
                    </a:lnTo>
                    <a:lnTo>
                      <a:pt x="2" y="0"/>
                    </a:lnTo>
                    <a:lnTo>
                      <a:pt x="158" y="158"/>
                    </a:lnTo>
                    <a:lnTo>
                      <a:pt x="312" y="318"/>
                    </a:lnTo>
                    <a:lnTo>
                      <a:pt x="158" y="476"/>
                    </a:lnTo>
                    <a:lnTo>
                      <a:pt x="2" y="636"/>
                    </a:lnTo>
                    <a:lnTo>
                      <a:pt x="0" y="640"/>
                    </a:lnTo>
                    <a:lnTo>
                      <a:pt x="0" y="640"/>
                    </a:lnTo>
                    <a:lnTo>
                      <a:pt x="50" y="642"/>
                    </a:lnTo>
                    <a:lnTo>
                      <a:pt x="98" y="644"/>
                    </a:lnTo>
                    <a:lnTo>
                      <a:pt x="146" y="652"/>
                    </a:lnTo>
                    <a:lnTo>
                      <a:pt x="194" y="660"/>
                    </a:lnTo>
                    <a:lnTo>
                      <a:pt x="240" y="670"/>
                    </a:lnTo>
                    <a:lnTo>
                      <a:pt x="286" y="684"/>
                    </a:lnTo>
                    <a:lnTo>
                      <a:pt x="330" y="698"/>
                    </a:lnTo>
                    <a:lnTo>
                      <a:pt x="374" y="716"/>
                    </a:lnTo>
                    <a:lnTo>
                      <a:pt x="416" y="734"/>
                    </a:lnTo>
                    <a:lnTo>
                      <a:pt x="458" y="756"/>
                    </a:lnTo>
                    <a:lnTo>
                      <a:pt x="498" y="778"/>
                    </a:lnTo>
                    <a:lnTo>
                      <a:pt x="536" y="804"/>
                    </a:lnTo>
                    <a:lnTo>
                      <a:pt x="574" y="830"/>
                    </a:lnTo>
                    <a:lnTo>
                      <a:pt x="610" y="860"/>
                    </a:lnTo>
                    <a:lnTo>
                      <a:pt x="646" y="890"/>
                    </a:lnTo>
                    <a:lnTo>
                      <a:pt x="678" y="920"/>
                    </a:lnTo>
                    <a:lnTo>
                      <a:pt x="710" y="954"/>
                    </a:lnTo>
                    <a:lnTo>
                      <a:pt x="740" y="990"/>
                    </a:lnTo>
                    <a:lnTo>
                      <a:pt x="770" y="1026"/>
                    </a:lnTo>
                    <a:lnTo>
                      <a:pt x="796" y="1064"/>
                    </a:lnTo>
                    <a:lnTo>
                      <a:pt x="822" y="1102"/>
                    </a:lnTo>
                    <a:lnTo>
                      <a:pt x="844" y="1142"/>
                    </a:lnTo>
                    <a:lnTo>
                      <a:pt x="866" y="1184"/>
                    </a:lnTo>
                    <a:lnTo>
                      <a:pt x="884" y="1226"/>
                    </a:lnTo>
                    <a:lnTo>
                      <a:pt x="902" y="1270"/>
                    </a:lnTo>
                    <a:lnTo>
                      <a:pt x="916" y="1314"/>
                    </a:lnTo>
                    <a:lnTo>
                      <a:pt x="930" y="1360"/>
                    </a:lnTo>
                    <a:lnTo>
                      <a:pt x="940" y="1406"/>
                    </a:lnTo>
                    <a:lnTo>
                      <a:pt x="948" y="1454"/>
                    </a:lnTo>
                    <a:lnTo>
                      <a:pt x="956" y="1502"/>
                    </a:lnTo>
                    <a:lnTo>
                      <a:pt x="958" y="1550"/>
                    </a:lnTo>
                    <a:lnTo>
                      <a:pt x="960" y="1600"/>
                    </a:lnTo>
                    <a:lnTo>
                      <a:pt x="962" y="1602"/>
                    </a:lnTo>
                    <a:lnTo>
                      <a:pt x="1120" y="1756"/>
                    </a:lnTo>
                    <a:lnTo>
                      <a:pt x="1280" y="1912"/>
                    </a:lnTo>
                    <a:lnTo>
                      <a:pt x="1438" y="1756"/>
                    </a:lnTo>
                    <a:lnTo>
                      <a:pt x="1598" y="1602"/>
                    </a:lnTo>
                    <a:lnTo>
                      <a:pt x="1600" y="1600"/>
                    </a:lnTo>
                    <a:close/>
                  </a:path>
                </a:pathLst>
              </a:custGeom>
              <a:solidFill>
                <a:schemeClr val="accent2">
                  <a:lumMod val="20000"/>
                  <a:lumOff val="80000"/>
                </a:schemeClr>
              </a:solidFill>
              <a:ln w="12700" cmpd="sng">
                <a:solidFill>
                  <a:schemeClr val="accent1">
                    <a:shade val="5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fontAlgn="auto">
                  <a:spcBef>
                    <a:spcPts val="0"/>
                  </a:spcBef>
                  <a:spcAft>
                    <a:spcPts val="0"/>
                  </a:spcAft>
                  <a:defRPr/>
                </a:pPr>
                <a:endParaRPr lang="en-CA" kern="0" dirty="0">
                  <a:solidFill>
                    <a:sysClr val="windowText" lastClr="000000"/>
                  </a:solidFill>
                </a:endParaRPr>
              </a:p>
            </p:txBody>
          </p:sp>
          <p:sp>
            <p:nvSpPr>
              <p:cNvPr id="24" name="Freeform 23"/>
              <p:cNvSpPr>
                <a:spLocks/>
              </p:cNvSpPr>
              <p:nvPr/>
            </p:nvSpPr>
            <p:spPr bwMode="auto">
              <a:xfrm rot="1591251">
                <a:off x="1024218" y="2238316"/>
                <a:ext cx="1440000" cy="1080000"/>
              </a:xfrm>
              <a:custGeom>
                <a:avLst/>
                <a:gdLst/>
                <a:ahLst/>
                <a:cxnLst>
                  <a:cxn ang="0">
                    <a:pos x="0" y="312"/>
                  </a:cxn>
                  <a:cxn ang="0">
                    <a:pos x="8" y="474"/>
                  </a:cxn>
                  <a:cxn ang="0">
                    <a:pos x="32" y="634"/>
                  </a:cxn>
                  <a:cxn ang="0">
                    <a:pos x="72" y="786"/>
                  </a:cxn>
                  <a:cxn ang="0">
                    <a:pos x="126" y="934"/>
                  </a:cxn>
                  <a:cxn ang="0">
                    <a:pos x="192" y="1074"/>
                  </a:cxn>
                  <a:cxn ang="0">
                    <a:pos x="272" y="1206"/>
                  </a:cxn>
                  <a:cxn ang="0">
                    <a:pos x="364" y="1328"/>
                  </a:cxn>
                  <a:cxn ang="0">
                    <a:pos x="468" y="1442"/>
                  </a:cxn>
                  <a:cxn ang="0">
                    <a:pos x="580" y="1546"/>
                  </a:cxn>
                  <a:cxn ang="0">
                    <a:pos x="704" y="1638"/>
                  </a:cxn>
                  <a:cxn ang="0">
                    <a:pos x="836" y="1718"/>
                  </a:cxn>
                  <a:cxn ang="0">
                    <a:pos x="976" y="1784"/>
                  </a:cxn>
                  <a:cxn ang="0">
                    <a:pos x="1122" y="1838"/>
                  </a:cxn>
                  <a:cxn ang="0">
                    <a:pos x="1276" y="1878"/>
                  </a:cxn>
                  <a:cxn ang="0">
                    <a:pos x="1434" y="1902"/>
                  </a:cxn>
                  <a:cxn ang="0">
                    <a:pos x="1598" y="1912"/>
                  </a:cxn>
                  <a:cxn ang="0">
                    <a:pos x="1288" y="1594"/>
                  </a:cxn>
                  <a:cxn ang="0">
                    <a:pos x="1598" y="1276"/>
                  </a:cxn>
                  <a:cxn ang="0">
                    <a:pos x="1600" y="1272"/>
                  </a:cxn>
                  <a:cxn ang="0">
                    <a:pos x="1502" y="1266"/>
                  </a:cxn>
                  <a:cxn ang="0">
                    <a:pos x="1406" y="1252"/>
                  </a:cxn>
                  <a:cxn ang="0">
                    <a:pos x="1314" y="1228"/>
                  </a:cxn>
                  <a:cxn ang="0">
                    <a:pos x="1226" y="1196"/>
                  </a:cxn>
                  <a:cxn ang="0">
                    <a:pos x="1142" y="1156"/>
                  </a:cxn>
                  <a:cxn ang="0">
                    <a:pos x="1064" y="1108"/>
                  </a:cxn>
                  <a:cxn ang="0">
                    <a:pos x="990" y="1052"/>
                  </a:cxn>
                  <a:cxn ang="0">
                    <a:pos x="922" y="990"/>
                  </a:cxn>
                  <a:cxn ang="0">
                    <a:pos x="860" y="922"/>
                  </a:cxn>
                  <a:cxn ang="0">
                    <a:pos x="804" y="848"/>
                  </a:cxn>
                  <a:cxn ang="0">
                    <a:pos x="756" y="770"/>
                  </a:cxn>
                  <a:cxn ang="0">
                    <a:pos x="716" y="686"/>
                  </a:cxn>
                  <a:cxn ang="0">
                    <a:pos x="684" y="598"/>
                  </a:cxn>
                  <a:cxn ang="0">
                    <a:pos x="660" y="504"/>
                  </a:cxn>
                  <a:cxn ang="0">
                    <a:pos x="644" y="410"/>
                  </a:cxn>
                  <a:cxn ang="0">
                    <a:pos x="640" y="312"/>
                  </a:cxn>
                  <a:cxn ang="0">
                    <a:pos x="480" y="154"/>
                  </a:cxn>
                  <a:cxn ang="0">
                    <a:pos x="162" y="154"/>
                  </a:cxn>
                  <a:cxn ang="0">
                    <a:pos x="0" y="312"/>
                  </a:cxn>
                </a:cxnLst>
                <a:rect l="0" t="0" r="r" b="b"/>
                <a:pathLst>
                  <a:path w="1600" h="1912">
                    <a:moveTo>
                      <a:pt x="0" y="312"/>
                    </a:moveTo>
                    <a:lnTo>
                      <a:pt x="0" y="312"/>
                    </a:lnTo>
                    <a:lnTo>
                      <a:pt x="2" y="394"/>
                    </a:lnTo>
                    <a:lnTo>
                      <a:pt x="8" y="474"/>
                    </a:lnTo>
                    <a:lnTo>
                      <a:pt x="18" y="554"/>
                    </a:lnTo>
                    <a:lnTo>
                      <a:pt x="32" y="634"/>
                    </a:lnTo>
                    <a:lnTo>
                      <a:pt x="50" y="712"/>
                    </a:lnTo>
                    <a:lnTo>
                      <a:pt x="72" y="786"/>
                    </a:lnTo>
                    <a:lnTo>
                      <a:pt x="96" y="862"/>
                    </a:lnTo>
                    <a:lnTo>
                      <a:pt x="126" y="934"/>
                    </a:lnTo>
                    <a:lnTo>
                      <a:pt x="158" y="1004"/>
                    </a:lnTo>
                    <a:lnTo>
                      <a:pt x="192" y="1074"/>
                    </a:lnTo>
                    <a:lnTo>
                      <a:pt x="232" y="1140"/>
                    </a:lnTo>
                    <a:lnTo>
                      <a:pt x="272" y="1206"/>
                    </a:lnTo>
                    <a:lnTo>
                      <a:pt x="318" y="1268"/>
                    </a:lnTo>
                    <a:lnTo>
                      <a:pt x="364" y="1328"/>
                    </a:lnTo>
                    <a:lnTo>
                      <a:pt x="414" y="1386"/>
                    </a:lnTo>
                    <a:lnTo>
                      <a:pt x="468" y="1442"/>
                    </a:lnTo>
                    <a:lnTo>
                      <a:pt x="522" y="1496"/>
                    </a:lnTo>
                    <a:lnTo>
                      <a:pt x="580" y="1546"/>
                    </a:lnTo>
                    <a:lnTo>
                      <a:pt x="642" y="1592"/>
                    </a:lnTo>
                    <a:lnTo>
                      <a:pt x="704" y="1638"/>
                    </a:lnTo>
                    <a:lnTo>
                      <a:pt x="768" y="1678"/>
                    </a:lnTo>
                    <a:lnTo>
                      <a:pt x="836" y="1718"/>
                    </a:lnTo>
                    <a:lnTo>
                      <a:pt x="904" y="1752"/>
                    </a:lnTo>
                    <a:lnTo>
                      <a:pt x="976" y="1784"/>
                    </a:lnTo>
                    <a:lnTo>
                      <a:pt x="1048" y="1814"/>
                    </a:lnTo>
                    <a:lnTo>
                      <a:pt x="1122" y="1838"/>
                    </a:lnTo>
                    <a:lnTo>
                      <a:pt x="1198" y="1860"/>
                    </a:lnTo>
                    <a:lnTo>
                      <a:pt x="1276" y="1878"/>
                    </a:lnTo>
                    <a:lnTo>
                      <a:pt x="1354" y="1892"/>
                    </a:lnTo>
                    <a:lnTo>
                      <a:pt x="1434" y="1902"/>
                    </a:lnTo>
                    <a:lnTo>
                      <a:pt x="1514" y="1910"/>
                    </a:lnTo>
                    <a:lnTo>
                      <a:pt x="1598" y="1912"/>
                    </a:lnTo>
                    <a:lnTo>
                      <a:pt x="1442" y="1752"/>
                    </a:lnTo>
                    <a:lnTo>
                      <a:pt x="1288" y="1594"/>
                    </a:lnTo>
                    <a:lnTo>
                      <a:pt x="1442" y="1434"/>
                    </a:lnTo>
                    <a:lnTo>
                      <a:pt x="1598" y="1276"/>
                    </a:lnTo>
                    <a:lnTo>
                      <a:pt x="1600" y="1272"/>
                    </a:lnTo>
                    <a:lnTo>
                      <a:pt x="1600" y="1272"/>
                    </a:lnTo>
                    <a:lnTo>
                      <a:pt x="1550" y="1270"/>
                    </a:lnTo>
                    <a:lnTo>
                      <a:pt x="1502" y="1266"/>
                    </a:lnTo>
                    <a:lnTo>
                      <a:pt x="1454" y="1260"/>
                    </a:lnTo>
                    <a:lnTo>
                      <a:pt x="1406" y="1252"/>
                    </a:lnTo>
                    <a:lnTo>
                      <a:pt x="1360" y="1242"/>
                    </a:lnTo>
                    <a:lnTo>
                      <a:pt x="1314" y="1228"/>
                    </a:lnTo>
                    <a:lnTo>
                      <a:pt x="1270" y="1214"/>
                    </a:lnTo>
                    <a:lnTo>
                      <a:pt x="1226" y="1196"/>
                    </a:lnTo>
                    <a:lnTo>
                      <a:pt x="1184" y="1176"/>
                    </a:lnTo>
                    <a:lnTo>
                      <a:pt x="1142" y="1156"/>
                    </a:lnTo>
                    <a:lnTo>
                      <a:pt x="1102" y="1132"/>
                    </a:lnTo>
                    <a:lnTo>
                      <a:pt x="1064" y="1108"/>
                    </a:lnTo>
                    <a:lnTo>
                      <a:pt x="1026" y="1080"/>
                    </a:lnTo>
                    <a:lnTo>
                      <a:pt x="990" y="1052"/>
                    </a:lnTo>
                    <a:lnTo>
                      <a:pt x="954" y="1022"/>
                    </a:lnTo>
                    <a:lnTo>
                      <a:pt x="922" y="990"/>
                    </a:lnTo>
                    <a:lnTo>
                      <a:pt x="890" y="958"/>
                    </a:lnTo>
                    <a:lnTo>
                      <a:pt x="860" y="922"/>
                    </a:lnTo>
                    <a:lnTo>
                      <a:pt x="830" y="886"/>
                    </a:lnTo>
                    <a:lnTo>
                      <a:pt x="804" y="848"/>
                    </a:lnTo>
                    <a:lnTo>
                      <a:pt x="778" y="810"/>
                    </a:lnTo>
                    <a:lnTo>
                      <a:pt x="756" y="770"/>
                    </a:lnTo>
                    <a:lnTo>
                      <a:pt x="734" y="728"/>
                    </a:lnTo>
                    <a:lnTo>
                      <a:pt x="716" y="686"/>
                    </a:lnTo>
                    <a:lnTo>
                      <a:pt x="698" y="642"/>
                    </a:lnTo>
                    <a:lnTo>
                      <a:pt x="684" y="598"/>
                    </a:lnTo>
                    <a:lnTo>
                      <a:pt x="670" y="552"/>
                    </a:lnTo>
                    <a:lnTo>
                      <a:pt x="660" y="504"/>
                    </a:lnTo>
                    <a:lnTo>
                      <a:pt x="652" y="458"/>
                    </a:lnTo>
                    <a:lnTo>
                      <a:pt x="644" y="410"/>
                    </a:lnTo>
                    <a:lnTo>
                      <a:pt x="642" y="360"/>
                    </a:lnTo>
                    <a:lnTo>
                      <a:pt x="640" y="312"/>
                    </a:lnTo>
                    <a:lnTo>
                      <a:pt x="638" y="310"/>
                    </a:lnTo>
                    <a:lnTo>
                      <a:pt x="480" y="154"/>
                    </a:lnTo>
                    <a:lnTo>
                      <a:pt x="320" y="0"/>
                    </a:lnTo>
                    <a:lnTo>
                      <a:pt x="162" y="154"/>
                    </a:lnTo>
                    <a:lnTo>
                      <a:pt x="2" y="310"/>
                    </a:lnTo>
                    <a:lnTo>
                      <a:pt x="0" y="312"/>
                    </a:lnTo>
                    <a:close/>
                  </a:path>
                </a:pathLst>
              </a:custGeom>
              <a:solidFill>
                <a:schemeClr val="accent2">
                  <a:lumMod val="20000"/>
                  <a:lumOff val="80000"/>
                </a:schemeClr>
              </a:solidFill>
              <a:ln w="12700" cmpd="sng">
                <a:solidFill>
                  <a:schemeClr val="accent1">
                    <a:shade val="5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kern="0" dirty="0">
                  <a:solidFill>
                    <a:sysClr val="windowText" lastClr="000000"/>
                  </a:solidFill>
                </a:endParaRPr>
              </a:p>
            </p:txBody>
          </p:sp>
        </p:grpSp>
      </p:grpSp>
      <p:sp>
        <p:nvSpPr>
          <p:cNvPr id="25" name="Text Placeholder 1"/>
          <p:cNvSpPr>
            <a:spLocks noGrp="1"/>
          </p:cNvSpPr>
          <p:nvPr>
            <p:ph type="body" sz="quarter" idx="19"/>
            <p:custDataLst>
              <p:tags r:id="rId10"/>
            </p:custDataLst>
          </p:nvPr>
        </p:nvSpPr>
        <p:spPr>
          <a:xfrm>
            <a:off x="392807" y="1160748"/>
            <a:ext cx="8400649" cy="684076"/>
          </a:xfrm>
        </p:spPr>
        <p:txBody>
          <a:bodyPr/>
          <a:lstStyle/>
          <a:p>
            <a:r>
              <a:rPr lang="en-US" dirty="0" smtClean="0"/>
              <a:t>Prioritize your major risk management actions into one document to focus attention, and communicate more effectively to the business.</a:t>
            </a:r>
            <a:endParaRPr lang="en-US" dirty="0"/>
          </a:p>
        </p:txBody>
      </p:sp>
      <p:pic>
        <p:nvPicPr>
          <p:cNvPr id="20" name="Picture 19" descr="tool.wmf"/>
          <p:cNvPicPr>
            <a:picLocks noChangeAspect="1"/>
          </p:cNvPicPr>
          <p:nvPr>
            <p:custDataLst>
              <p:tags r:id="rId11"/>
            </p:custDataLst>
          </p:nvPr>
        </p:nvPicPr>
        <p:blipFill>
          <a:blip r:embed="rId22" cstate="print"/>
          <a:stretch>
            <a:fillRect/>
          </a:stretch>
        </p:blipFill>
        <p:spPr>
          <a:xfrm>
            <a:off x="7466490" y="401942"/>
            <a:ext cx="633902" cy="614790"/>
          </a:xfrm>
          <a:prstGeom prst="rect">
            <a:avLst/>
          </a:prstGeom>
        </p:spPr>
      </p:pic>
      <p:sp>
        <p:nvSpPr>
          <p:cNvPr id="27" name="Rectangle 26"/>
          <p:cNvSpPr/>
          <p:nvPr>
            <p:custDataLst>
              <p:tags r:id="rId12"/>
            </p:custDataLst>
          </p:nvPr>
        </p:nvSpPr>
        <p:spPr>
          <a:xfrm>
            <a:off x="6574054" y="2475926"/>
            <a:ext cx="2193584" cy="1277110"/>
          </a:xfrm>
          <a:prstGeom prst="rect">
            <a:avLst/>
          </a:prstGeom>
          <a:solidFill>
            <a:srgbClr val="224061"/>
          </a:solidFill>
          <a:ln>
            <a:noFill/>
          </a:ln>
          <a:effectLst>
            <a:outerShdw blurRad="50800" dist="38100" dir="2700000" algn="tl" rotWithShape="0">
              <a:prstClr val="black">
                <a:alpha val="40000"/>
              </a:prstClr>
            </a:outerShdw>
          </a:effectLst>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Transpose the top ranked risks from tab “7. Risk Reporting” into the template in order to focus on the most pressing risks. Focus on the top 10 to 20 risks, ranking from most to least severe.</a:t>
            </a:r>
          </a:p>
        </p:txBody>
      </p:sp>
      <p:pic>
        <p:nvPicPr>
          <p:cNvPr id="408578" name="Picture 2"/>
          <p:cNvPicPr>
            <a:picLocks noChangeAspect="1" noChangeArrowheads="1"/>
          </p:cNvPicPr>
          <p:nvPr>
            <p:custDataLst>
              <p:tags r:id="rId13"/>
            </p:custDataLst>
          </p:nvPr>
        </p:nvPicPr>
        <p:blipFill>
          <a:blip r:embed="rId23" cstate="print"/>
          <a:srcRect/>
          <a:stretch>
            <a:fillRect/>
          </a:stretch>
        </p:blipFill>
        <p:spPr bwMode="auto">
          <a:xfrm>
            <a:off x="6115471" y="4394449"/>
            <a:ext cx="2632993" cy="1878867"/>
          </a:xfrm>
          <a:prstGeom prst="rect">
            <a:avLst/>
          </a:prstGeom>
          <a:noFill/>
          <a:ln w="9525">
            <a:noFill/>
            <a:miter lim="800000"/>
            <a:headEnd/>
            <a:tailEnd/>
          </a:ln>
        </p:spPr>
      </p:pic>
    </p:spTree>
    <p:extLst>
      <p:ext uri="{BB962C8B-B14F-4D97-AF65-F5344CB8AC3E}">
        <p14:creationId xmlns:p14="http://schemas.microsoft.com/office/powerpoint/2010/main" val="38272384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SCORM_RATE_QUIZZES" val="0"/>
  <p:tag name="ISPRING_SCORM_PASSING_SCORE" val="100.0000000000"/>
  <p:tag name="GENSWF_OUTPUT_FILE_NAME" val="it-risk-mgmt-sample"/>
  <p:tag name="ISPRING_RESOURCE_PATHS_HASH_2" val="1f75aca6eaf32512aa075bdaf6b3266e731ce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OXUq2UpEejzX8vaMaK4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CKaCMHo6kO_A22Txkpg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VInZOaLoUahEUo5X.bg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VKako.qmECnZ1YaDPye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CccYJiv0EyD6n9Reg9V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1vBhSWza0it4yke7UUg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VInZOaLoUahEUo5X.bg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VKako.qmECnZ1YaDPye6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CccYJiv0EyD6n9Reg9V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1vBhSWza0it4yke7UUg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kDo3vFoEUatST8Vqzvi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kDo3vFoEUatST8Vqzvi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c0DXCQgH0Gx3Aup.qQ1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IsOC_C_Z0CUrgmGj7iP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wl2qxGfUkmBPPZ.DRdE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Mra5RbBhU6DCDtKvqMd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029a9TCvBkOn68vvwN3e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Q8Kr5XLbEqBOA1e3UU5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x0M_UCkLkaqfTo5VcxT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2FpIyhFqkGMk7Ge_AO1p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alXOZPa4EOoQe8Qe6Ee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reRcEc9q0asj85a1Vpl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t.RlTTfq0Wmgnivhfon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kDo3vFoEUatST8Vqzvi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DVa755KVESGyTb56Nh.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fxZPOyxtkKFl5GPSmr.5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IsOC_C_Z0CUrgmGj7iP3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km0ABmUB0ujdjttfT8h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3Mye4CDrs0KpWpnzWbV3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egF_navLEG1cl7KNJbQa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5SUFCJzS0G6RY6h_rtvA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t.RlTTfq0Wmgnivhfon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kf2G8PhE0SWjsfNzu4gs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S4IqNW650ewrtv3e1Ac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OF_w1jlWkGdWlSHzzRv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kDo3vFoEUatST8Vqzvi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24wPOH4pskCwJsSV9824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dV1Q0oNqES99qEiQHN.E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il3pTEiGUyitIZMs7ij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IggMkTmd0Klx7lV57RUz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7i6zz01bVU23jFvMjng5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lev.iouxEi9m7WxP4GxR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EMLkZLpp0y3LJ9jOEQtF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7Joe4MOro0uHg.CV2IIqA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WRq387OekaqkcIjjm2kQ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CH3FQS5FUGmDBn8gN4z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9KZ861q0UWrSrYTsZh9t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A68EeAVBUisdIGR25UsM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kDo3vFoEUatST8Vqzvi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_ZXK8xaa0SqPRQ56AJbR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gpEVQtp3EilRnrqyGF._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bKyk2gQuUOEkUti357Zt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KDgX2bebU6XmLGiOl6bW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R7wvpzF8U6Jg0poPn.F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0tQMrRhD0.dElMe7MGcm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rDyY9m4a0.r1EchXeqa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wjLoHuIGE0mp3JRVUsBL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_HY174RAUWvgM1nMnAc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QoDQRXr9USpdCwZvYE3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tX.oqqcZ0aq3t3WwTxQl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809</Words>
  <Application>Microsoft Office PowerPoint</Application>
  <PresentationFormat>On-screen Show (4:3)</PresentationFormat>
  <Paragraphs>133</Paragraphs>
  <Slides>11</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3" baseType="lpstr">
      <vt:lpstr>Office Theme</vt:lpstr>
      <vt:lpstr>think-cell Slide</vt:lpstr>
      <vt:lpstr>PowerPoint Presentation</vt:lpstr>
      <vt:lpstr>Introduction</vt:lpstr>
      <vt:lpstr>Executive Summary</vt:lpstr>
      <vt:lpstr>Stop reacting, and formally manage risk to increase your risk management success by 53%</vt:lpstr>
      <vt:lpstr>Leverage formal risk management to cover all risk areas, and to maximize business collaboration</vt:lpstr>
      <vt:lpstr>Create a formal communication plan to keep the business on-point for risk management</vt:lpstr>
      <vt:lpstr>Present the breakdown of risk to the business using the dashboards in Info-Tech’s WCO IT Risk Profile Tool</vt:lpstr>
      <vt:lpstr>Easily communicate the organization’s full risk profile using Info-Tech’s WCO IT Risk Profile Tool</vt:lpstr>
      <vt:lpstr>Finalize, and present the risk mitigation plan using Info-Tech’s Risk Management Action Plan template</vt:lpstr>
      <vt:lpstr>Conclusion</vt:lpstr>
      <vt:lpstr>Info-Tech Research Group Helps IT Professionals To:</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risk-mgmt-sample.pptx</dc:title>
  <dc:creator/>
  <cp:lastModifiedBy/>
  <cp:revision>1</cp:revision>
  <dcterms:created xsi:type="dcterms:W3CDTF">2012-10-16T14:41:18Z</dcterms:created>
  <dcterms:modified xsi:type="dcterms:W3CDTF">2012-12-05T20:04:43Z</dcterms:modified>
</cp:coreProperties>
</file>